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sldIdLst>
    <p:sldId id="257" r:id="rId2"/>
    <p:sldId id="259" r:id="rId3"/>
    <p:sldId id="348" r:id="rId4"/>
    <p:sldId id="261" r:id="rId5"/>
    <p:sldId id="273" r:id="rId6"/>
    <p:sldId id="347" r:id="rId7"/>
    <p:sldId id="346" r:id="rId8"/>
    <p:sldId id="334" r:id="rId9"/>
    <p:sldId id="336" r:id="rId10"/>
    <p:sldId id="337" r:id="rId11"/>
    <p:sldId id="339" r:id="rId12"/>
    <p:sldId id="340" r:id="rId13"/>
    <p:sldId id="341" r:id="rId14"/>
    <p:sldId id="344" r:id="rId15"/>
    <p:sldId id="345" r:id="rId16"/>
    <p:sldId id="342" r:id="rId17"/>
    <p:sldId id="343" r:id="rId18"/>
    <p:sldId id="335" r:id="rId19"/>
    <p:sldId id="256" r:id="rId20"/>
    <p:sldId id="331" r:id="rId21"/>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34" userDrawn="1">
          <p15:clr>
            <a:srgbClr val="A4A3A4"/>
          </p15:clr>
        </p15:guide>
        <p15:guide id="2" pos="3840" userDrawn="1">
          <p15:clr>
            <a:srgbClr val="A4A3A4"/>
          </p15:clr>
        </p15:guide>
        <p15:guide id="3" orient="horz" pos="5" userDrawn="1">
          <p15:clr>
            <a:srgbClr val="A4A3A4"/>
          </p15:clr>
        </p15:guide>
        <p15:guide id="4" orient="horz" pos="4320" userDrawn="1">
          <p15:clr>
            <a:srgbClr val="A4A3A4"/>
          </p15:clr>
        </p15:guide>
        <p15:guide id="5" userDrawn="1">
          <p15:clr>
            <a:srgbClr val="A4A3A4"/>
          </p15:clr>
        </p15:guide>
        <p15:guide id="6" pos="7680" userDrawn="1">
          <p15:clr>
            <a:srgbClr val="A4A3A4"/>
          </p15:clr>
        </p15:guide>
        <p15:guide id="7" orient="horz" pos="2341" userDrawn="1">
          <p15:clr>
            <a:srgbClr val="A4A3A4"/>
          </p15:clr>
        </p15:guide>
        <p15:guide id="8" pos="347" userDrawn="1">
          <p15:clr>
            <a:srgbClr val="A4A3A4"/>
          </p15:clr>
        </p15:guide>
        <p15:guide id="9" pos="5019" userDrawn="1">
          <p15:clr>
            <a:srgbClr val="A4A3A4"/>
          </p15:clr>
        </p15:guide>
        <p15:guide id="10" pos="286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488B"/>
    <a:srgbClr val="6E4494"/>
    <a:srgbClr val="888887"/>
    <a:srgbClr val="DCC5ED"/>
    <a:srgbClr val="5F2364"/>
    <a:srgbClr val="F4F1F6"/>
    <a:srgbClr val="F9F8FA"/>
    <a:srgbClr val="2770B0"/>
    <a:srgbClr val="F5ADCA"/>
    <a:srgbClr val="525C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29" autoAdjust="0"/>
    <p:restoredTop sz="94632"/>
  </p:normalViewPr>
  <p:slideViewPr>
    <p:cSldViewPr snapToGrid="0" showGuides="1">
      <p:cViewPr varScale="1">
        <p:scale>
          <a:sx n="58" d="100"/>
          <a:sy n="58" d="100"/>
        </p:scale>
        <p:origin x="42" y="66"/>
      </p:cViewPr>
      <p:guideLst>
        <p:guide orient="horz" pos="3634"/>
        <p:guide pos="3840"/>
        <p:guide orient="horz" pos="5"/>
        <p:guide orient="horz" pos="4320"/>
        <p:guide/>
        <p:guide pos="7680"/>
        <p:guide orient="horz" pos="2341"/>
        <p:guide pos="347"/>
        <p:guide pos="5019"/>
        <p:guide pos="28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8E1685-E3AC-450D-8B4C-BBB5D2A6410F}" type="doc">
      <dgm:prSet loTypeId="urn:microsoft.com/office/officeart/2005/8/layout/radial6" loCatId="relationship" qsTypeId="urn:microsoft.com/office/officeart/2005/8/quickstyle/simple1" qsCatId="simple" csTypeId="urn:microsoft.com/office/officeart/2005/8/colors/accent5_2" csCatId="accent5" phldr="1"/>
      <dgm:spPr/>
      <dgm:t>
        <a:bodyPr/>
        <a:lstStyle/>
        <a:p>
          <a:endParaRPr lang="es-MX"/>
        </a:p>
      </dgm:t>
    </dgm:pt>
    <dgm:pt modelId="{91BCDC57-21D8-450B-A1F6-4230FAACEF65}">
      <dgm:prSet phldrT="[Text]" custT="1"/>
      <dgm:spPr>
        <a:solidFill>
          <a:srgbClr val="5F2364"/>
        </a:solidFill>
      </dgm:spPr>
      <dgm:t>
        <a:bodyPr/>
        <a:lstStyle/>
        <a:p>
          <a:r>
            <a:rPr lang="en-US" sz="2000" b="1" dirty="0">
              <a:latin typeface="Century Gothic" panose="020B0502020202020204" pitchFamily="34" charset="0"/>
            </a:rPr>
            <a:t>Riesgos Clave de la IA Generativa</a:t>
          </a:r>
          <a:endParaRPr lang="es-MX" sz="2000" b="1" dirty="0">
            <a:latin typeface="Century Gothic" panose="020B0502020202020204" pitchFamily="34" charset="0"/>
          </a:endParaRPr>
        </a:p>
      </dgm:t>
    </dgm:pt>
    <dgm:pt modelId="{CD7CDEEF-C15C-4B6E-889A-946E2279AB48}" type="parTrans" cxnId="{DF8C37BF-F687-4279-A990-635FF638D95F}">
      <dgm:prSet/>
      <dgm:spPr/>
      <dgm:t>
        <a:bodyPr/>
        <a:lstStyle/>
        <a:p>
          <a:endParaRPr lang="es-MX"/>
        </a:p>
      </dgm:t>
    </dgm:pt>
    <dgm:pt modelId="{A9AE536E-6256-4AA7-83D3-4FB77C58009A}" type="sibTrans" cxnId="{DF8C37BF-F687-4279-A990-635FF638D95F}">
      <dgm:prSet/>
      <dgm:spPr/>
      <dgm:t>
        <a:bodyPr/>
        <a:lstStyle/>
        <a:p>
          <a:endParaRPr lang="es-MX"/>
        </a:p>
      </dgm:t>
    </dgm:pt>
    <dgm:pt modelId="{04FFA38A-DE56-4041-A790-A2E797E05FB0}">
      <dgm:prSet phldrT="[Text]"/>
      <dgm:spPr>
        <a:solidFill>
          <a:srgbClr val="6E4494"/>
        </a:solidFill>
      </dgm:spPr>
      <dgm:t>
        <a:bodyPr/>
        <a:lstStyle/>
        <a:p>
          <a:r>
            <a:rPr lang="en-US" dirty="0"/>
            <a:t> </a:t>
          </a:r>
          <a:endParaRPr lang="es-MX" dirty="0"/>
        </a:p>
      </dgm:t>
    </dgm:pt>
    <dgm:pt modelId="{6703CD82-94AB-4831-8CB5-5300EF909AAF}" type="parTrans" cxnId="{342378D8-27C0-4365-9DE9-8AFC3B16F999}">
      <dgm:prSet/>
      <dgm:spPr/>
      <dgm:t>
        <a:bodyPr/>
        <a:lstStyle/>
        <a:p>
          <a:endParaRPr lang="es-MX"/>
        </a:p>
      </dgm:t>
    </dgm:pt>
    <dgm:pt modelId="{95DC3048-D964-4D42-9D49-FEDCABF8A8DD}" type="sibTrans" cxnId="{342378D8-27C0-4365-9DE9-8AFC3B16F999}">
      <dgm:prSet/>
      <dgm:spPr>
        <a:solidFill>
          <a:srgbClr val="DCC5ED"/>
        </a:solidFill>
      </dgm:spPr>
      <dgm:t>
        <a:bodyPr/>
        <a:lstStyle/>
        <a:p>
          <a:endParaRPr lang="es-MX"/>
        </a:p>
      </dgm:t>
    </dgm:pt>
    <dgm:pt modelId="{50DA85AF-C2AC-4E81-9EE2-16216A3DEC2F}">
      <dgm:prSet phldrT="[Text]"/>
      <dgm:spPr>
        <a:solidFill>
          <a:srgbClr val="6E4494"/>
        </a:solidFill>
      </dgm:spPr>
      <dgm:t>
        <a:bodyPr/>
        <a:lstStyle/>
        <a:p>
          <a:r>
            <a:rPr lang="en-US" dirty="0"/>
            <a:t> </a:t>
          </a:r>
          <a:endParaRPr lang="es-MX" dirty="0"/>
        </a:p>
      </dgm:t>
    </dgm:pt>
    <dgm:pt modelId="{99038E70-7A22-4506-8F71-BBA31CCCB17B}" type="parTrans" cxnId="{5E609FAF-F102-4185-B7EF-E22F385A09F2}">
      <dgm:prSet/>
      <dgm:spPr/>
      <dgm:t>
        <a:bodyPr/>
        <a:lstStyle/>
        <a:p>
          <a:endParaRPr lang="es-MX"/>
        </a:p>
      </dgm:t>
    </dgm:pt>
    <dgm:pt modelId="{A4DA4291-73BC-4CC5-8D5E-5EEF848717EC}" type="sibTrans" cxnId="{5E609FAF-F102-4185-B7EF-E22F385A09F2}">
      <dgm:prSet/>
      <dgm:spPr>
        <a:solidFill>
          <a:srgbClr val="DCC5ED"/>
        </a:solidFill>
      </dgm:spPr>
      <dgm:t>
        <a:bodyPr/>
        <a:lstStyle/>
        <a:p>
          <a:endParaRPr lang="es-MX"/>
        </a:p>
      </dgm:t>
    </dgm:pt>
    <dgm:pt modelId="{0367FF7E-CD13-48DA-84F3-C0A9621C1598}">
      <dgm:prSet phldrT="[Text]"/>
      <dgm:spPr>
        <a:solidFill>
          <a:srgbClr val="6E4494"/>
        </a:solidFill>
      </dgm:spPr>
      <dgm:t>
        <a:bodyPr/>
        <a:lstStyle/>
        <a:p>
          <a:r>
            <a:rPr lang="en-US" dirty="0"/>
            <a:t> </a:t>
          </a:r>
          <a:endParaRPr lang="es-MX" dirty="0"/>
        </a:p>
      </dgm:t>
    </dgm:pt>
    <dgm:pt modelId="{8B5700DE-5C58-483A-B38F-D8D130955604}" type="parTrans" cxnId="{FA213F03-B7CE-49D0-9EAD-58EE97348E1E}">
      <dgm:prSet/>
      <dgm:spPr/>
      <dgm:t>
        <a:bodyPr/>
        <a:lstStyle/>
        <a:p>
          <a:endParaRPr lang="es-MX"/>
        </a:p>
      </dgm:t>
    </dgm:pt>
    <dgm:pt modelId="{178E89A2-3833-4438-A794-A9BB25D5252E}" type="sibTrans" cxnId="{FA213F03-B7CE-49D0-9EAD-58EE97348E1E}">
      <dgm:prSet/>
      <dgm:spPr>
        <a:solidFill>
          <a:srgbClr val="DCC5ED"/>
        </a:solidFill>
      </dgm:spPr>
      <dgm:t>
        <a:bodyPr/>
        <a:lstStyle/>
        <a:p>
          <a:endParaRPr lang="es-MX"/>
        </a:p>
      </dgm:t>
    </dgm:pt>
    <dgm:pt modelId="{450AFC04-D3AF-40D1-AAB2-FCE208918784}">
      <dgm:prSet phldrT="[Text]"/>
      <dgm:spPr/>
      <dgm:t>
        <a:bodyPr/>
        <a:lstStyle/>
        <a:p>
          <a:endParaRPr lang="es-MX" dirty="0"/>
        </a:p>
      </dgm:t>
    </dgm:pt>
    <dgm:pt modelId="{5F98F970-6236-45A2-A431-1D2B70C9D158}" type="parTrans" cxnId="{939087AA-45C4-4A01-B0E7-1CB624C13547}">
      <dgm:prSet/>
      <dgm:spPr/>
      <dgm:t>
        <a:bodyPr/>
        <a:lstStyle/>
        <a:p>
          <a:endParaRPr lang="es-MX"/>
        </a:p>
      </dgm:t>
    </dgm:pt>
    <dgm:pt modelId="{925F9948-3385-4537-9620-2ABA0172327D}" type="sibTrans" cxnId="{939087AA-45C4-4A01-B0E7-1CB624C13547}">
      <dgm:prSet/>
      <dgm:spPr/>
      <dgm:t>
        <a:bodyPr/>
        <a:lstStyle/>
        <a:p>
          <a:endParaRPr lang="es-MX"/>
        </a:p>
      </dgm:t>
    </dgm:pt>
    <dgm:pt modelId="{2F946ED9-85A4-47E8-87A0-5AF1E725AC5E}">
      <dgm:prSet phldrT="[Text]"/>
      <dgm:spPr>
        <a:solidFill>
          <a:srgbClr val="6E4494"/>
        </a:solidFill>
      </dgm:spPr>
      <dgm:t>
        <a:bodyPr/>
        <a:lstStyle/>
        <a:p>
          <a:r>
            <a:rPr lang="en-US" dirty="0"/>
            <a:t> </a:t>
          </a:r>
          <a:endParaRPr lang="es-MX" dirty="0"/>
        </a:p>
      </dgm:t>
    </dgm:pt>
    <dgm:pt modelId="{A03AB77C-09B7-49F0-A313-8B2BCD6C41F9}" type="parTrans" cxnId="{F66BAEDF-4E62-4526-B053-504EBE7D4FF4}">
      <dgm:prSet/>
      <dgm:spPr/>
      <dgm:t>
        <a:bodyPr/>
        <a:lstStyle/>
        <a:p>
          <a:endParaRPr lang="es-MX"/>
        </a:p>
      </dgm:t>
    </dgm:pt>
    <dgm:pt modelId="{996E8785-4AF9-4CFE-A370-4BE7E4EAD3A9}" type="sibTrans" cxnId="{F66BAEDF-4E62-4526-B053-504EBE7D4FF4}">
      <dgm:prSet/>
      <dgm:spPr>
        <a:solidFill>
          <a:srgbClr val="DCC5ED"/>
        </a:solidFill>
      </dgm:spPr>
      <dgm:t>
        <a:bodyPr/>
        <a:lstStyle/>
        <a:p>
          <a:endParaRPr lang="es-MX"/>
        </a:p>
      </dgm:t>
    </dgm:pt>
    <dgm:pt modelId="{13E0D365-8B66-4B8C-8AD0-A017A7A9DD93}" type="pres">
      <dgm:prSet presAssocID="{5F8E1685-E3AC-450D-8B4C-BBB5D2A6410F}" presName="Name0" presStyleCnt="0">
        <dgm:presLayoutVars>
          <dgm:chMax val="1"/>
          <dgm:dir val="rev"/>
          <dgm:animLvl val="ctr"/>
          <dgm:resizeHandles val="exact"/>
        </dgm:presLayoutVars>
      </dgm:prSet>
      <dgm:spPr/>
    </dgm:pt>
    <dgm:pt modelId="{281B9F4A-56E1-475B-B3FD-3C2C758BF1D9}" type="pres">
      <dgm:prSet presAssocID="{91BCDC57-21D8-450B-A1F6-4230FAACEF65}" presName="centerShape" presStyleLbl="node0" presStyleIdx="0" presStyleCnt="1" custScaleX="135413" custScaleY="134619"/>
      <dgm:spPr/>
    </dgm:pt>
    <dgm:pt modelId="{728B20CC-54EB-4F86-85F2-88A63EA1A374}" type="pres">
      <dgm:prSet presAssocID="{04FFA38A-DE56-4041-A790-A2E797E05FB0}" presName="node" presStyleLbl="node1" presStyleIdx="0" presStyleCnt="4" custScaleX="41872" custScaleY="41549" custRadScaleRad="95671" custRadScaleInc="-174720">
        <dgm:presLayoutVars>
          <dgm:bulletEnabled val="1"/>
        </dgm:presLayoutVars>
      </dgm:prSet>
      <dgm:spPr/>
    </dgm:pt>
    <dgm:pt modelId="{7AC1AF57-1A54-4001-A46A-7E17AD9614AC}" type="pres">
      <dgm:prSet presAssocID="{04FFA38A-DE56-4041-A790-A2E797E05FB0}" presName="dummy" presStyleCnt="0"/>
      <dgm:spPr/>
    </dgm:pt>
    <dgm:pt modelId="{224CDC42-8C10-48F2-B6C9-15EB29BBD011}" type="pres">
      <dgm:prSet presAssocID="{95DC3048-D964-4D42-9D49-FEDCABF8A8DD}" presName="sibTrans" presStyleLbl="sibTrans2D1" presStyleIdx="0" presStyleCnt="4" custLinFactNeighborX="-1168" custLinFactNeighborY="346"/>
      <dgm:spPr/>
    </dgm:pt>
    <dgm:pt modelId="{64331862-1518-4DE0-9B33-14DCB0F22C5A}" type="pres">
      <dgm:prSet presAssocID="{50DA85AF-C2AC-4E81-9EE2-16216A3DEC2F}" presName="node" presStyleLbl="node1" presStyleIdx="1" presStyleCnt="4" custScaleX="41872" custScaleY="41549" custRadScaleRad="99450" custRadScaleInc="-132645">
        <dgm:presLayoutVars>
          <dgm:bulletEnabled val="1"/>
        </dgm:presLayoutVars>
      </dgm:prSet>
      <dgm:spPr/>
    </dgm:pt>
    <dgm:pt modelId="{399B5D87-ABF1-44A5-8F4B-0313D6DDAC5C}" type="pres">
      <dgm:prSet presAssocID="{50DA85AF-C2AC-4E81-9EE2-16216A3DEC2F}" presName="dummy" presStyleCnt="0"/>
      <dgm:spPr/>
    </dgm:pt>
    <dgm:pt modelId="{3907FBBB-DA72-4DB0-B754-E1BDD0079739}" type="pres">
      <dgm:prSet presAssocID="{A4DA4291-73BC-4CC5-8D5E-5EEF848717EC}" presName="sibTrans" presStyleLbl="sibTrans2D1" presStyleIdx="1" presStyleCnt="4"/>
      <dgm:spPr/>
    </dgm:pt>
    <dgm:pt modelId="{C175CFC7-D6F8-404A-810D-86E9DD0768B8}" type="pres">
      <dgm:prSet presAssocID="{0367FF7E-CD13-48DA-84F3-C0A9621C1598}" presName="node" presStyleLbl="node1" presStyleIdx="2" presStyleCnt="4" custScaleX="41872" custScaleY="41549" custRadScaleRad="98613" custRadScaleInc="-183641">
        <dgm:presLayoutVars>
          <dgm:bulletEnabled val="1"/>
        </dgm:presLayoutVars>
      </dgm:prSet>
      <dgm:spPr/>
    </dgm:pt>
    <dgm:pt modelId="{5E7DAC5E-0164-4B86-BDF4-F37FD6DA5CC0}" type="pres">
      <dgm:prSet presAssocID="{0367FF7E-CD13-48DA-84F3-C0A9621C1598}" presName="dummy" presStyleCnt="0"/>
      <dgm:spPr/>
    </dgm:pt>
    <dgm:pt modelId="{E19D3097-9D40-446F-B129-3BA8954BE674}" type="pres">
      <dgm:prSet presAssocID="{178E89A2-3833-4438-A794-A9BB25D5252E}" presName="sibTrans" presStyleLbl="sibTrans2D1" presStyleIdx="2" presStyleCnt="4"/>
      <dgm:spPr/>
    </dgm:pt>
    <dgm:pt modelId="{A45512E9-7F8F-4676-B085-32FF565CD514}" type="pres">
      <dgm:prSet presAssocID="{2F946ED9-85A4-47E8-87A0-5AF1E725AC5E}" presName="node" presStyleLbl="node1" presStyleIdx="3" presStyleCnt="4" custScaleX="41872" custScaleY="41549" custRadScaleRad="94830" custRadScaleInc="-122423">
        <dgm:presLayoutVars>
          <dgm:bulletEnabled val="1"/>
        </dgm:presLayoutVars>
      </dgm:prSet>
      <dgm:spPr/>
    </dgm:pt>
    <dgm:pt modelId="{16E3D017-E990-4AB0-A50E-68CBE6D2D945}" type="pres">
      <dgm:prSet presAssocID="{2F946ED9-85A4-47E8-87A0-5AF1E725AC5E}" presName="dummy" presStyleCnt="0"/>
      <dgm:spPr/>
    </dgm:pt>
    <dgm:pt modelId="{5520A711-31A1-4FA2-8248-3A7ED4E0DAF5}" type="pres">
      <dgm:prSet presAssocID="{996E8785-4AF9-4CFE-A370-4BE7E4EAD3A9}" presName="sibTrans" presStyleLbl="sibTrans2D1" presStyleIdx="3" presStyleCnt="4"/>
      <dgm:spPr/>
    </dgm:pt>
  </dgm:ptLst>
  <dgm:cxnLst>
    <dgm:cxn modelId="{FA213F03-B7CE-49D0-9EAD-58EE97348E1E}" srcId="{91BCDC57-21D8-450B-A1F6-4230FAACEF65}" destId="{0367FF7E-CD13-48DA-84F3-C0A9621C1598}" srcOrd="2" destOrd="0" parTransId="{8B5700DE-5C58-483A-B38F-D8D130955604}" sibTransId="{178E89A2-3833-4438-A794-A9BB25D5252E}"/>
    <dgm:cxn modelId="{C23A1E06-51E8-4192-AE7A-73C2C78D6452}" type="presOf" srcId="{50DA85AF-C2AC-4E81-9EE2-16216A3DEC2F}" destId="{64331862-1518-4DE0-9B33-14DCB0F22C5A}" srcOrd="0" destOrd="0" presId="urn:microsoft.com/office/officeart/2005/8/layout/radial6"/>
    <dgm:cxn modelId="{FCF71915-1C8B-440D-B119-9A12A6766EAB}" type="presOf" srcId="{2F946ED9-85A4-47E8-87A0-5AF1E725AC5E}" destId="{A45512E9-7F8F-4676-B085-32FF565CD514}" srcOrd="0" destOrd="0" presId="urn:microsoft.com/office/officeart/2005/8/layout/radial6"/>
    <dgm:cxn modelId="{D0D2226C-385C-489E-BEA6-02F22CC32F98}" type="presOf" srcId="{5F8E1685-E3AC-450D-8B4C-BBB5D2A6410F}" destId="{13E0D365-8B66-4B8C-8AD0-A017A7A9DD93}" srcOrd="0" destOrd="0" presId="urn:microsoft.com/office/officeart/2005/8/layout/radial6"/>
    <dgm:cxn modelId="{ACA08856-842E-4CA9-A4EC-C85163AABBBE}" type="presOf" srcId="{996E8785-4AF9-4CFE-A370-4BE7E4EAD3A9}" destId="{5520A711-31A1-4FA2-8248-3A7ED4E0DAF5}" srcOrd="0" destOrd="0" presId="urn:microsoft.com/office/officeart/2005/8/layout/radial6"/>
    <dgm:cxn modelId="{38E45E90-5CFA-4096-95C3-5FBDE89F4C1D}" type="presOf" srcId="{91BCDC57-21D8-450B-A1F6-4230FAACEF65}" destId="{281B9F4A-56E1-475B-B3FD-3C2C758BF1D9}" srcOrd="0" destOrd="0" presId="urn:microsoft.com/office/officeart/2005/8/layout/radial6"/>
    <dgm:cxn modelId="{4FB4A594-6FB0-457E-8710-F2FE86A48214}" type="presOf" srcId="{0367FF7E-CD13-48DA-84F3-C0A9621C1598}" destId="{C175CFC7-D6F8-404A-810D-86E9DD0768B8}" srcOrd="0" destOrd="0" presId="urn:microsoft.com/office/officeart/2005/8/layout/radial6"/>
    <dgm:cxn modelId="{939087AA-45C4-4A01-B0E7-1CB624C13547}" srcId="{5F8E1685-E3AC-450D-8B4C-BBB5D2A6410F}" destId="{450AFC04-D3AF-40D1-AAB2-FCE208918784}" srcOrd="1" destOrd="0" parTransId="{5F98F970-6236-45A2-A431-1D2B70C9D158}" sibTransId="{925F9948-3385-4537-9620-2ABA0172327D}"/>
    <dgm:cxn modelId="{5E609FAF-F102-4185-B7EF-E22F385A09F2}" srcId="{91BCDC57-21D8-450B-A1F6-4230FAACEF65}" destId="{50DA85AF-C2AC-4E81-9EE2-16216A3DEC2F}" srcOrd="1" destOrd="0" parTransId="{99038E70-7A22-4506-8F71-BBA31CCCB17B}" sibTransId="{A4DA4291-73BC-4CC5-8D5E-5EEF848717EC}"/>
    <dgm:cxn modelId="{1ACA6BB6-FE54-473C-BC0C-1C6D41DC77AD}" type="presOf" srcId="{04FFA38A-DE56-4041-A790-A2E797E05FB0}" destId="{728B20CC-54EB-4F86-85F2-88A63EA1A374}" srcOrd="0" destOrd="0" presId="urn:microsoft.com/office/officeart/2005/8/layout/radial6"/>
    <dgm:cxn modelId="{718DCBBC-C93C-48EA-A583-AAEDFA16CF31}" type="presOf" srcId="{A4DA4291-73BC-4CC5-8D5E-5EEF848717EC}" destId="{3907FBBB-DA72-4DB0-B754-E1BDD0079739}" srcOrd="0" destOrd="0" presId="urn:microsoft.com/office/officeart/2005/8/layout/radial6"/>
    <dgm:cxn modelId="{B4132EBE-55F6-4F6C-8CD6-0873DB880404}" type="presOf" srcId="{178E89A2-3833-4438-A794-A9BB25D5252E}" destId="{E19D3097-9D40-446F-B129-3BA8954BE674}" srcOrd="0" destOrd="0" presId="urn:microsoft.com/office/officeart/2005/8/layout/radial6"/>
    <dgm:cxn modelId="{DF8C37BF-F687-4279-A990-635FF638D95F}" srcId="{5F8E1685-E3AC-450D-8B4C-BBB5D2A6410F}" destId="{91BCDC57-21D8-450B-A1F6-4230FAACEF65}" srcOrd="0" destOrd="0" parTransId="{CD7CDEEF-C15C-4B6E-889A-946E2279AB48}" sibTransId="{A9AE536E-6256-4AA7-83D3-4FB77C58009A}"/>
    <dgm:cxn modelId="{342378D8-27C0-4365-9DE9-8AFC3B16F999}" srcId="{91BCDC57-21D8-450B-A1F6-4230FAACEF65}" destId="{04FFA38A-DE56-4041-A790-A2E797E05FB0}" srcOrd="0" destOrd="0" parTransId="{6703CD82-94AB-4831-8CB5-5300EF909AAF}" sibTransId="{95DC3048-D964-4D42-9D49-FEDCABF8A8DD}"/>
    <dgm:cxn modelId="{9881FFDD-1393-4E78-A7B6-E3159B15AA0C}" type="presOf" srcId="{95DC3048-D964-4D42-9D49-FEDCABF8A8DD}" destId="{224CDC42-8C10-48F2-B6C9-15EB29BBD011}" srcOrd="0" destOrd="0" presId="urn:microsoft.com/office/officeart/2005/8/layout/radial6"/>
    <dgm:cxn modelId="{F66BAEDF-4E62-4526-B053-504EBE7D4FF4}" srcId="{91BCDC57-21D8-450B-A1F6-4230FAACEF65}" destId="{2F946ED9-85A4-47E8-87A0-5AF1E725AC5E}" srcOrd="3" destOrd="0" parTransId="{A03AB77C-09B7-49F0-A313-8B2BCD6C41F9}" sibTransId="{996E8785-4AF9-4CFE-A370-4BE7E4EAD3A9}"/>
    <dgm:cxn modelId="{3913CC87-A324-451F-B880-701373D5B6E1}" type="presParOf" srcId="{13E0D365-8B66-4B8C-8AD0-A017A7A9DD93}" destId="{281B9F4A-56E1-475B-B3FD-3C2C758BF1D9}" srcOrd="0" destOrd="0" presId="urn:microsoft.com/office/officeart/2005/8/layout/radial6"/>
    <dgm:cxn modelId="{81FF5899-A8C2-4521-B0F7-054FA84E588A}" type="presParOf" srcId="{13E0D365-8B66-4B8C-8AD0-A017A7A9DD93}" destId="{728B20CC-54EB-4F86-85F2-88A63EA1A374}" srcOrd="1" destOrd="0" presId="urn:microsoft.com/office/officeart/2005/8/layout/radial6"/>
    <dgm:cxn modelId="{E2348BDD-0BAA-4FBB-88B5-A6935E0205F8}" type="presParOf" srcId="{13E0D365-8B66-4B8C-8AD0-A017A7A9DD93}" destId="{7AC1AF57-1A54-4001-A46A-7E17AD9614AC}" srcOrd="2" destOrd="0" presId="urn:microsoft.com/office/officeart/2005/8/layout/radial6"/>
    <dgm:cxn modelId="{38803B00-6AEE-48DC-8671-AA30FC135F02}" type="presParOf" srcId="{13E0D365-8B66-4B8C-8AD0-A017A7A9DD93}" destId="{224CDC42-8C10-48F2-B6C9-15EB29BBD011}" srcOrd="3" destOrd="0" presId="urn:microsoft.com/office/officeart/2005/8/layout/radial6"/>
    <dgm:cxn modelId="{A80D7AEC-C091-4ECD-B039-17F00473A929}" type="presParOf" srcId="{13E0D365-8B66-4B8C-8AD0-A017A7A9DD93}" destId="{64331862-1518-4DE0-9B33-14DCB0F22C5A}" srcOrd="4" destOrd="0" presId="urn:microsoft.com/office/officeart/2005/8/layout/radial6"/>
    <dgm:cxn modelId="{07503FE2-3399-4435-B78F-3F4DD5F344A5}" type="presParOf" srcId="{13E0D365-8B66-4B8C-8AD0-A017A7A9DD93}" destId="{399B5D87-ABF1-44A5-8F4B-0313D6DDAC5C}" srcOrd="5" destOrd="0" presId="urn:microsoft.com/office/officeart/2005/8/layout/radial6"/>
    <dgm:cxn modelId="{747E8168-2808-49A8-9C2A-11F6CF983577}" type="presParOf" srcId="{13E0D365-8B66-4B8C-8AD0-A017A7A9DD93}" destId="{3907FBBB-DA72-4DB0-B754-E1BDD0079739}" srcOrd="6" destOrd="0" presId="urn:microsoft.com/office/officeart/2005/8/layout/radial6"/>
    <dgm:cxn modelId="{E4984F81-CD09-459A-8D85-6902E2ACE89D}" type="presParOf" srcId="{13E0D365-8B66-4B8C-8AD0-A017A7A9DD93}" destId="{C175CFC7-D6F8-404A-810D-86E9DD0768B8}" srcOrd="7" destOrd="0" presId="urn:microsoft.com/office/officeart/2005/8/layout/radial6"/>
    <dgm:cxn modelId="{C27F222C-3A6B-4281-9252-636D22789E88}" type="presParOf" srcId="{13E0D365-8B66-4B8C-8AD0-A017A7A9DD93}" destId="{5E7DAC5E-0164-4B86-BDF4-F37FD6DA5CC0}" srcOrd="8" destOrd="0" presId="urn:microsoft.com/office/officeart/2005/8/layout/radial6"/>
    <dgm:cxn modelId="{8374D397-A81D-49D6-9408-FEA3D8915648}" type="presParOf" srcId="{13E0D365-8B66-4B8C-8AD0-A017A7A9DD93}" destId="{E19D3097-9D40-446F-B129-3BA8954BE674}" srcOrd="9" destOrd="0" presId="urn:microsoft.com/office/officeart/2005/8/layout/radial6"/>
    <dgm:cxn modelId="{2E9742E1-0C37-4CB4-96DC-4E50D41F8CA1}" type="presParOf" srcId="{13E0D365-8B66-4B8C-8AD0-A017A7A9DD93}" destId="{A45512E9-7F8F-4676-B085-32FF565CD514}" srcOrd="10" destOrd="0" presId="urn:microsoft.com/office/officeart/2005/8/layout/radial6"/>
    <dgm:cxn modelId="{47638F68-27BE-4A46-8902-2EBFBB1EB152}" type="presParOf" srcId="{13E0D365-8B66-4B8C-8AD0-A017A7A9DD93}" destId="{16E3D017-E990-4AB0-A50E-68CBE6D2D945}" srcOrd="11" destOrd="0" presId="urn:microsoft.com/office/officeart/2005/8/layout/radial6"/>
    <dgm:cxn modelId="{AECE7A09-1521-4E63-AC67-D85806FE193B}" type="presParOf" srcId="{13E0D365-8B66-4B8C-8AD0-A017A7A9DD93}" destId="{5520A711-31A1-4FA2-8248-3A7ED4E0DAF5}" srcOrd="12" destOrd="0" presId="urn:microsoft.com/office/officeart/2005/8/layout/radial6"/>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20A711-31A1-4FA2-8248-3A7ED4E0DAF5}">
      <dsp:nvSpPr>
        <dsp:cNvPr id="0" name=""/>
        <dsp:cNvSpPr/>
      </dsp:nvSpPr>
      <dsp:spPr>
        <a:xfrm>
          <a:off x="1967976" y="779527"/>
          <a:ext cx="4167238" cy="4167238"/>
        </a:xfrm>
        <a:prstGeom prst="blockArc">
          <a:avLst>
            <a:gd name="adj1" fmla="val 13273852"/>
            <a:gd name="adj2" fmla="val 19200576"/>
            <a:gd name="adj3" fmla="val 4642"/>
          </a:avLst>
        </a:prstGeom>
        <a:solidFill>
          <a:srgbClr val="DCC5ED"/>
        </a:solidFill>
        <a:ln>
          <a:noFill/>
        </a:ln>
        <a:effectLst/>
      </dsp:spPr>
      <dsp:style>
        <a:lnRef idx="0">
          <a:scrgbClr r="0" g="0" b="0"/>
        </a:lnRef>
        <a:fillRef idx="1">
          <a:scrgbClr r="0" g="0" b="0"/>
        </a:fillRef>
        <a:effectRef idx="0">
          <a:scrgbClr r="0" g="0" b="0"/>
        </a:effectRef>
        <a:fontRef idx="minor">
          <a:schemeClr val="lt1"/>
        </a:fontRef>
      </dsp:style>
    </dsp:sp>
    <dsp:sp modelId="{E19D3097-9D40-446F-B129-3BA8954BE674}">
      <dsp:nvSpPr>
        <dsp:cNvPr id="0" name=""/>
        <dsp:cNvSpPr/>
      </dsp:nvSpPr>
      <dsp:spPr>
        <a:xfrm>
          <a:off x="1900778" y="694957"/>
          <a:ext cx="4167238" cy="4167238"/>
        </a:xfrm>
        <a:prstGeom prst="blockArc">
          <a:avLst>
            <a:gd name="adj1" fmla="val 19383049"/>
            <a:gd name="adj2" fmla="val 1921532"/>
            <a:gd name="adj3" fmla="val 4642"/>
          </a:avLst>
        </a:prstGeom>
        <a:solidFill>
          <a:srgbClr val="DCC5ED"/>
        </a:solidFill>
        <a:ln>
          <a:noFill/>
        </a:ln>
        <a:effectLst/>
      </dsp:spPr>
      <dsp:style>
        <a:lnRef idx="0">
          <a:scrgbClr r="0" g="0" b="0"/>
        </a:lnRef>
        <a:fillRef idx="1">
          <a:scrgbClr r="0" g="0" b="0"/>
        </a:fillRef>
        <a:effectRef idx="0">
          <a:scrgbClr r="0" g="0" b="0"/>
        </a:effectRef>
        <a:fontRef idx="minor">
          <a:schemeClr val="lt1"/>
        </a:fontRef>
      </dsp:style>
    </dsp:sp>
    <dsp:sp modelId="{3907FBBB-DA72-4DB0-B754-E1BDD0079739}">
      <dsp:nvSpPr>
        <dsp:cNvPr id="0" name=""/>
        <dsp:cNvSpPr/>
      </dsp:nvSpPr>
      <dsp:spPr>
        <a:xfrm>
          <a:off x="1968198" y="593997"/>
          <a:ext cx="4167238" cy="4167238"/>
        </a:xfrm>
        <a:prstGeom prst="blockArc">
          <a:avLst>
            <a:gd name="adj1" fmla="val 2126622"/>
            <a:gd name="adj2" fmla="val 8358056"/>
            <a:gd name="adj3" fmla="val 4642"/>
          </a:avLst>
        </a:prstGeom>
        <a:solidFill>
          <a:srgbClr val="DCC5ED"/>
        </a:solidFill>
        <a:ln>
          <a:noFill/>
        </a:ln>
        <a:effectLst/>
      </dsp:spPr>
      <dsp:style>
        <a:lnRef idx="0">
          <a:scrgbClr r="0" g="0" b="0"/>
        </a:lnRef>
        <a:fillRef idx="1">
          <a:scrgbClr r="0" g="0" b="0"/>
        </a:fillRef>
        <a:effectRef idx="0">
          <a:scrgbClr r="0" g="0" b="0"/>
        </a:effectRef>
        <a:fontRef idx="minor">
          <a:schemeClr val="lt1"/>
        </a:fontRef>
      </dsp:style>
    </dsp:sp>
    <dsp:sp modelId="{224CDC42-8C10-48F2-B6C9-15EB29BBD011}">
      <dsp:nvSpPr>
        <dsp:cNvPr id="0" name=""/>
        <dsp:cNvSpPr/>
      </dsp:nvSpPr>
      <dsp:spPr>
        <a:xfrm>
          <a:off x="1995279" y="701948"/>
          <a:ext cx="4167238" cy="4167238"/>
        </a:xfrm>
        <a:prstGeom prst="blockArc">
          <a:avLst>
            <a:gd name="adj1" fmla="val 8561387"/>
            <a:gd name="adj2" fmla="val 13072289"/>
            <a:gd name="adj3" fmla="val 4642"/>
          </a:avLst>
        </a:prstGeom>
        <a:solidFill>
          <a:srgbClr val="DCC5ED"/>
        </a:solidFill>
        <a:ln>
          <a:noFill/>
        </a:ln>
        <a:effectLst/>
      </dsp:spPr>
      <dsp:style>
        <a:lnRef idx="0">
          <a:scrgbClr r="0" g="0" b="0"/>
        </a:lnRef>
        <a:fillRef idx="1">
          <a:scrgbClr r="0" g="0" b="0"/>
        </a:fillRef>
        <a:effectRef idx="0">
          <a:scrgbClr r="0" g="0" b="0"/>
        </a:effectRef>
        <a:fontRef idx="minor">
          <a:schemeClr val="lt1"/>
        </a:fontRef>
      </dsp:style>
    </dsp:sp>
    <dsp:sp modelId="{281B9F4A-56E1-475B-B3FD-3C2C758BF1D9}">
      <dsp:nvSpPr>
        <dsp:cNvPr id="0" name=""/>
        <dsp:cNvSpPr/>
      </dsp:nvSpPr>
      <dsp:spPr>
        <a:xfrm>
          <a:off x="2764786" y="1417737"/>
          <a:ext cx="2598427" cy="2583191"/>
        </a:xfrm>
        <a:prstGeom prst="ellipse">
          <a:avLst/>
        </a:prstGeom>
        <a:solidFill>
          <a:srgbClr val="5F236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Century Gothic" panose="020B0502020202020204" pitchFamily="34" charset="0"/>
            </a:rPr>
            <a:t>Riesgos Clave de la IA Generativa</a:t>
          </a:r>
          <a:endParaRPr lang="es-MX" sz="2000" b="1" kern="1200" dirty="0">
            <a:latin typeface="Century Gothic" panose="020B0502020202020204" pitchFamily="34" charset="0"/>
          </a:endParaRPr>
        </a:p>
      </dsp:txBody>
      <dsp:txXfrm>
        <a:off x="3145317" y="1796037"/>
        <a:ext cx="1837365" cy="1826591"/>
      </dsp:txXfrm>
    </dsp:sp>
    <dsp:sp modelId="{728B20CC-54EB-4F86-85F2-88A63EA1A374}">
      <dsp:nvSpPr>
        <dsp:cNvPr id="0" name=""/>
        <dsp:cNvSpPr/>
      </dsp:nvSpPr>
      <dsp:spPr>
        <a:xfrm>
          <a:off x="2239738" y="1242668"/>
          <a:ext cx="562434" cy="558095"/>
        </a:xfrm>
        <a:prstGeom prst="ellipse">
          <a:avLst/>
        </a:prstGeom>
        <a:solidFill>
          <a:srgbClr val="6E449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 </a:t>
          </a:r>
          <a:endParaRPr lang="es-MX" sz="2300" kern="1200" dirty="0"/>
        </a:p>
      </dsp:txBody>
      <dsp:txXfrm>
        <a:off x="2322105" y="1324399"/>
        <a:ext cx="397700" cy="394633"/>
      </dsp:txXfrm>
    </dsp:sp>
    <dsp:sp modelId="{64331862-1518-4DE0-9B33-14DCB0F22C5A}">
      <dsp:nvSpPr>
        <dsp:cNvPr id="0" name=""/>
        <dsp:cNvSpPr/>
      </dsp:nvSpPr>
      <dsp:spPr>
        <a:xfrm>
          <a:off x="2227576" y="3725735"/>
          <a:ext cx="562434" cy="558095"/>
        </a:xfrm>
        <a:prstGeom prst="ellipse">
          <a:avLst/>
        </a:prstGeom>
        <a:solidFill>
          <a:srgbClr val="6E449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 </a:t>
          </a:r>
          <a:endParaRPr lang="es-MX" sz="2300" kern="1200" dirty="0"/>
        </a:p>
      </dsp:txBody>
      <dsp:txXfrm>
        <a:off x="2309943" y="3807466"/>
        <a:ext cx="397700" cy="394633"/>
      </dsp:txXfrm>
    </dsp:sp>
    <dsp:sp modelId="{C175CFC7-D6F8-404A-810D-86E9DD0768B8}">
      <dsp:nvSpPr>
        <dsp:cNvPr id="0" name=""/>
        <dsp:cNvSpPr/>
      </dsp:nvSpPr>
      <dsp:spPr>
        <a:xfrm>
          <a:off x="5428701" y="3578823"/>
          <a:ext cx="562434" cy="558095"/>
        </a:xfrm>
        <a:prstGeom prst="ellipse">
          <a:avLst/>
        </a:prstGeom>
        <a:solidFill>
          <a:srgbClr val="6E449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 </a:t>
          </a:r>
          <a:endParaRPr lang="es-MX" sz="2300" kern="1200" dirty="0"/>
        </a:p>
      </dsp:txBody>
      <dsp:txXfrm>
        <a:off x="5511068" y="3660554"/>
        <a:ext cx="397700" cy="394633"/>
      </dsp:txXfrm>
    </dsp:sp>
    <dsp:sp modelId="{A45512E9-7F8F-4676-B085-32FF565CD514}">
      <dsp:nvSpPr>
        <dsp:cNvPr id="0" name=""/>
        <dsp:cNvSpPr/>
      </dsp:nvSpPr>
      <dsp:spPr>
        <a:xfrm>
          <a:off x="5329700" y="1276118"/>
          <a:ext cx="562434" cy="558095"/>
        </a:xfrm>
        <a:prstGeom prst="ellipse">
          <a:avLst/>
        </a:prstGeom>
        <a:solidFill>
          <a:srgbClr val="6E449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 </a:t>
          </a:r>
          <a:endParaRPr lang="es-MX" sz="2300" kern="1200" dirty="0"/>
        </a:p>
      </dsp:txBody>
      <dsp:txXfrm>
        <a:off x="5412067" y="1357849"/>
        <a:ext cx="397700" cy="394633"/>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755770-04E3-C647-BC09-FC1B39A50B66}" type="datetimeFigureOut">
              <a:rPr lang="es-CO" smtClean="0"/>
              <a:t>24/11/2025</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550B2D-09B8-C840-8A15-517DBABBF287}" type="slidenum">
              <a:rPr lang="es-CO" smtClean="0"/>
              <a:t>‹Nº›</a:t>
            </a:fld>
            <a:endParaRPr lang="es-CO"/>
          </a:p>
        </p:txBody>
      </p:sp>
    </p:spTree>
    <p:extLst>
      <p:ext uri="{BB962C8B-B14F-4D97-AF65-F5344CB8AC3E}">
        <p14:creationId xmlns:p14="http://schemas.microsoft.com/office/powerpoint/2010/main" val="3797763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6E550B2D-09B8-C840-8A15-517DBABBF287}" type="slidenum">
              <a:rPr lang="es-CO" smtClean="0"/>
              <a:t>1</a:t>
            </a:fld>
            <a:endParaRPr lang="es-CO"/>
          </a:p>
        </p:txBody>
      </p:sp>
    </p:spTree>
    <p:extLst>
      <p:ext uri="{BB962C8B-B14F-4D97-AF65-F5344CB8AC3E}">
        <p14:creationId xmlns:p14="http://schemas.microsoft.com/office/powerpoint/2010/main" val="3116807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96355-D8E8-C9BC-BB3B-B8130AA50F5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D8810A-3069-5504-75EC-FE6A84853FA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04FEBC5-F5F3-D6D5-AA08-2A024FC4A2AF}"/>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409EF042-D925-8961-A31C-BEF323480225}"/>
              </a:ext>
            </a:extLst>
          </p:cNvPr>
          <p:cNvSpPr>
            <a:spLocks noGrp="1"/>
          </p:cNvSpPr>
          <p:nvPr>
            <p:ph type="sldNum" sz="quarter" idx="5"/>
          </p:nvPr>
        </p:nvSpPr>
        <p:spPr/>
        <p:txBody>
          <a:bodyPr/>
          <a:lstStyle/>
          <a:p>
            <a:fld id="{6E550B2D-09B8-C840-8A15-517DBABBF287}" type="slidenum">
              <a:rPr lang="es-CO" smtClean="0"/>
              <a:t>10</a:t>
            </a:fld>
            <a:endParaRPr lang="es-CO"/>
          </a:p>
        </p:txBody>
      </p:sp>
    </p:spTree>
    <p:extLst>
      <p:ext uri="{BB962C8B-B14F-4D97-AF65-F5344CB8AC3E}">
        <p14:creationId xmlns:p14="http://schemas.microsoft.com/office/powerpoint/2010/main" val="4261944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83A97-F7AA-C1B5-7819-21086C7C639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FAC47E6-9EF7-AD0B-29B7-772A2CEC4F5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7895F43-39B5-EB3D-762C-A703F5F4B0B4}"/>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03B6A10F-EC47-A4C9-78EB-1270B25E80DE}"/>
              </a:ext>
            </a:extLst>
          </p:cNvPr>
          <p:cNvSpPr>
            <a:spLocks noGrp="1"/>
          </p:cNvSpPr>
          <p:nvPr>
            <p:ph type="sldNum" sz="quarter" idx="5"/>
          </p:nvPr>
        </p:nvSpPr>
        <p:spPr/>
        <p:txBody>
          <a:bodyPr/>
          <a:lstStyle/>
          <a:p>
            <a:fld id="{6E550B2D-09B8-C840-8A15-517DBABBF287}" type="slidenum">
              <a:rPr lang="es-CO" smtClean="0"/>
              <a:t>11</a:t>
            </a:fld>
            <a:endParaRPr lang="es-CO"/>
          </a:p>
        </p:txBody>
      </p:sp>
    </p:spTree>
    <p:extLst>
      <p:ext uri="{BB962C8B-B14F-4D97-AF65-F5344CB8AC3E}">
        <p14:creationId xmlns:p14="http://schemas.microsoft.com/office/powerpoint/2010/main" val="3067547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43F7A-D107-029A-F3BD-641EFEEE692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260C491-298B-A7BE-ACAF-F59C6511A4C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EED7DE1-CC1A-185D-4D9A-CD781EFB273C}"/>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113AECDC-3820-D8ED-2E72-791AC31F7FA0}"/>
              </a:ext>
            </a:extLst>
          </p:cNvPr>
          <p:cNvSpPr>
            <a:spLocks noGrp="1"/>
          </p:cNvSpPr>
          <p:nvPr>
            <p:ph type="sldNum" sz="quarter" idx="5"/>
          </p:nvPr>
        </p:nvSpPr>
        <p:spPr/>
        <p:txBody>
          <a:bodyPr/>
          <a:lstStyle/>
          <a:p>
            <a:fld id="{6E550B2D-09B8-C840-8A15-517DBABBF287}" type="slidenum">
              <a:rPr lang="es-CO" smtClean="0"/>
              <a:t>12</a:t>
            </a:fld>
            <a:endParaRPr lang="es-CO"/>
          </a:p>
        </p:txBody>
      </p:sp>
    </p:spTree>
    <p:extLst>
      <p:ext uri="{BB962C8B-B14F-4D97-AF65-F5344CB8AC3E}">
        <p14:creationId xmlns:p14="http://schemas.microsoft.com/office/powerpoint/2010/main" val="1478035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084E6-99B6-7EA8-FA93-5C171084EB4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C6D42BC-4A96-C7DB-C5B2-C5B64FDF271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9789D4A-A804-2044-B83E-258BE563D7C4}"/>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6ADDF263-4E39-F0E0-C99C-E005127108AB}"/>
              </a:ext>
            </a:extLst>
          </p:cNvPr>
          <p:cNvSpPr>
            <a:spLocks noGrp="1"/>
          </p:cNvSpPr>
          <p:nvPr>
            <p:ph type="sldNum" sz="quarter" idx="5"/>
          </p:nvPr>
        </p:nvSpPr>
        <p:spPr/>
        <p:txBody>
          <a:bodyPr/>
          <a:lstStyle/>
          <a:p>
            <a:fld id="{6E550B2D-09B8-C840-8A15-517DBABBF287}" type="slidenum">
              <a:rPr lang="es-CO" smtClean="0"/>
              <a:t>13</a:t>
            </a:fld>
            <a:endParaRPr lang="es-CO"/>
          </a:p>
        </p:txBody>
      </p:sp>
    </p:spTree>
    <p:extLst>
      <p:ext uri="{BB962C8B-B14F-4D97-AF65-F5344CB8AC3E}">
        <p14:creationId xmlns:p14="http://schemas.microsoft.com/office/powerpoint/2010/main" val="1680840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2CD4C-3855-8E23-CB4B-B3DA9C3C4CD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B0A5D33-4F93-4DE4-8DD5-CB3976E2224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A9D067E-A8D5-4954-E2C4-60082E7F1A27}"/>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F53AEA37-64B3-3366-6860-2C727B5B3092}"/>
              </a:ext>
            </a:extLst>
          </p:cNvPr>
          <p:cNvSpPr>
            <a:spLocks noGrp="1"/>
          </p:cNvSpPr>
          <p:nvPr>
            <p:ph type="sldNum" sz="quarter" idx="5"/>
          </p:nvPr>
        </p:nvSpPr>
        <p:spPr/>
        <p:txBody>
          <a:bodyPr/>
          <a:lstStyle/>
          <a:p>
            <a:fld id="{6E550B2D-09B8-C840-8A15-517DBABBF287}" type="slidenum">
              <a:rPr lang="es-CO" smtClean="0"/>
              <a:t>14</a:t>
            </a:fld>
            <a:endParaRPr lang="es-CO"/>
          </a:p>
        </p:txBody>
      </p:sp>
    </p:spTree>
    <p:extLst>
      <p:ext uri="{BB962C8B-B14F-4D97-AF65-F5344CB8AC3E}">
        <p14:creationId xmlns:p14="http://schemas.microsoft.com/office/powerpoint/2010/main" val="1406172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4E108-703A-F805-281D-4ABC3B4A37D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9FF67F4-DBC2-4FFC-1F1D-81F5CBFB5E5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DBD744-1139-E8ED-1791-6349A8C1EFEE}"/>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25E0C893-377F-BFA6-7297-35A364B30653}"/>
              </a:ext>
            </a:extLst>
          </p:cNvPr>
          <p:cNvSpPr>
            <a:spLocks noGrp="1"/>
          </p:cNvSpPr>
          <p:nvPr>
            <p:ph type="sldNum" sz="quarter" idx="5"/>
          </p:nvPr>
        </p:nvSpPr>
        <p:spPr/>
        <p:txBody>
          <a:bodyPr/>
          <a:lstStyle/>
          <a:p>
            <a:fld id="{6E550B2D-09B8-C840-8A15-517DBABBF287}" type="slidenum">
              <a:rPr lang="es-CO" smtClean="0"/>
              <a:t>15</a:t>
            </a:fld>
            <a:endParaRPr lang="es-CO"/>
          </a:p>
        </p:txBody>
      </p:sp>
    </p:spTree>
    <p:extLst>
      <p:ext uri="{BB962C8B-B14F-4D97-AF65-F5344CB8AC3E}">
        <p14:creationId xmlns:p14="http://schemas.microsoft.com/office/powerpoint/2010/main" val="21048347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5539D-986D-DC16-6CAD-3E3E5FA7551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E16892-42F0-144D-BADD-C9841D44C88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6640AE-C2E6-2CE9-7BB8-A017BF12B74E}"/>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515B6550-10E9-CBED-AB95-ED8E6F8BB14C}"/>
              </a:ext>
            </a:extLst>
          </p:cNvPr>
          <p:cNvSpPr>
            <a:spLocks noGrp="1"/>
          </p:cNvSpPr>
          <p:nvPr>
            <p:ph type="sldNum" sz="quarter" idx="5"/>
          </p:nvPr>
        </p:nvSpPr>
        <p:spPr/>
        <p:txBody>
          <a:bodyPr/>
          <a:lstStyle/>
          <a:p>
            <a:fld id="{6E550B2D-09B8-C840-8A15-517DBABBF287}" type="slidenum">
              <a:rPr lang="es-CO" smtClean="0"/>
              <a:t>16</a:t>
            </a:fld>
            <a:endParaRPr lang="es-CO"/>
          </a:p>
        </p:txBody>
      </p:sp>
    </p:spTree>
    <p:extLst>
      <p:ext uri="{BB962C8B-B14F-4D97-AF65-F5344CB8AC3E}">
        <p14:creationId xmlns:p14="http://schemas.microsoft.com/office/powerpoint/2010/main" val="2474798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38F6F-B1EA-5A8D-AC67-56AF49A0DB1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479E1E9-7E35-BDB6-7896-67DD85AE101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36130C2-EDF0-CF34-240E-86FD415F8ED8}"/>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AABE096F-731D-DFA5-1EFE-1F943430215E}"/>
              </a:ext>
            </a:extLst>
          </p:cNvPr>
          <p:cNvSpPr>
            <a:spLocks noGrp="1"/>
          </p:cNvSpPr>
          <p:nvPr>
            <p:ph type="sldNum" sz="quarter" idx="5"/>
          </p:nvPr>
        </p:nvSpPr>
        <p:spPr/>
        <p:txBody>
          <a:bodyPr/>
          <a:lstStyle/>
          <a:p>
            <a:fld id="{6E550B2D-09B8-C840-8A15-517DBABBF287}" type="slidenum">
              <a:rPr lang="es-CO" smtClean="0"/>
              <a:t>17</a:t>
            </a:fld>
            <a:endParaRPr lang="es-CO"/>
          </a:p>
        </p:txBody>
      </p:sp>
    </p:spTree>
    <p:extLst>
      <p:ext uri="{BB962C8B-B14F-4D97-AF65-F5344CB8AC3E}">
        <p14:creationId xmlns:p14="http://schemas.microsoft.com/office/powerpoint/2010/main" val="1634224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AB155-C434-B0BC-93D3-1DC74C179C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68D877B-B0BD-5727-5C64-DBE5A28CA6D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3612E3D-218E-F203-CF20-7D60D96B6CFE}"/>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4B0DCE04-4C5A-D711-8398-C78532830F77}"/>
              </a:ext>
            </a:extLst>
          </p:cNvPr>
          <p:cNvSpPr>
            <a:spLocks noGrp="1"/>
          </p:cNvSpPr>
          <p:nvPr>
            <p:ph type="sldNum" sz="quarter" idx="5"/>
          </p:nvPr>
        </p:nvSpPr>
        <p:spPr/>
        <p:txBody>
          <a:bodyPr/>
          <a:lstStyle/>
          <a:p>
            <a:fld id="{6E550B2D-09B8-C840-8A15-517DBABBF287}" type="slidenum">
              <a:rPr lang="es-CO" smtClean="0"/>
              <a:t>18</a:t>
            </a:fld>
            <a:endParaRPr lang="es-CO"/>
          </a:p>
        </p:txBody>
      </p:sp>
    </p:spTree>
    <p:extLst>
      <p:ext uri="{BB962C8B-B14F-4D97-AF65-F5344CB8AC3E}">
        <p14:creationId xmlns:p14="http://schemas.microsoft.com/office/powerpoint/2010/main" val="2654640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6C5481C4-51CE-476D-9268-24632B619E39}" type="slidenum">
              <a:rPr lang="es-CO" smtClean="0"/>
              <a:t>19</a:t>
            </a:fld>
            <a:endParaRPr lang="es-CO"/>
          </a:p>
        </p:txBody>
      </p:sp>
    </p:spTree>
    <p:extLst>
      <p:ext uri="{BB962C8B-B14F-4D97-AF65-F5344CB8AC3E}">
        <p14:creationId xmlns:p14="http://schemas.microsoft.com/office/powerpoint/2010/main" val="305268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6E550B2D-09B8-C840-8A15-517DBABBF287}" type="slidenum">
              <a:rPr lang="es-CO" smtClean="0"/>
              <a:t>2</a:t>
            </a:fld>
            <a:endParaRPr lang="es-CO"/>
          </a:p>
        </p:txBody>
      </p:sp>
    </p:spTree>
    <p:extLst>
      <p:ext uri="{BB962C8B-B14F-4D97-AF65-F5344CB8AC3E}">
        <p14:creationId xmlns:p14="http://schemas.microsoft.com/office/powerpoint/2010/main" val="2783294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3904D-0C1F-AE14-3D72-B20E1DD6140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8C4BA1C-CF54-7B4B-E698-581B761E1D1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C09986E-BEFF-FE68-858B-DE40F5E7E7B6}"/>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E2A868CF-BF8D-32A0-E9D2-81A1B3DE3D01}"/>
              </a:ext>
            </a:extLst>
          </p:cNvPr>
          <p:cNvSpPr>
            <a:spLocks noGrp="1"/>
          </p:cNvSpPr>
          <p:nvPr>
            <p:ph type="sldNum" sz="quarter" idx="5"/>
          </p:nvPr>
        </p:nvSpPr>
        <p:spPr/>
        <p:txBody>
          <a:bodyPr/>
          <a:lstStyle/>
          <a:p>
            <a:fld id="{6E550B2D-09B8-C840-8A15-517DBABBF287}" type="slidenum">
              <a:rPr lang="es-CO" smtClean="0"/>
              <a:t>3</a:t>
            </a:fld>
            <a:endParaRPr lang="es-CO"/>
          </a:p>
        </p:txBody>
      </p:sp>
    </p:spTree>
    <p:extLst>
      <p:ext uri="{BB962C8B-B14F-4D97-AF65-F5344CB8AC3E}">
        <p14:creationId xmlns:p14="http://schemas.microsoft.com/office/powerpoint/2010/main" val="3217555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6E550B2D-09B8-C840-8A15-517DBABBF287}" type="slidenum">
              <a:rPr lang="es-CO" smtClean="0"/>
              <a:t>4</a:t>
            </a:fld>
            <a:endParaRPr lang="es-CO"/>
          </a:p>
        </p:txBody>
      </p:sp>
    </p:spTree>
    <p:extLst>
      <p:ext uri="{BB962C8B-B14F-4D97-AF65-F5344CB8AC3E}">
        <p14:creationId xmlns:p14="http://schemas.microsoft.com/office/powerpoint/2010/main" val="1929827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4E108-703A-F805-281D-4ABC3B4A37D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9FF67F4-DBC2-4FFC-1F1D-81F5CBFB5E5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DBD744-1139-E8ED-1791-6349A8C1EFEE}"/>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25E0C893-377F-BFA6-7297-35A364B30653}"/>
              </a:ext>
            </a:extLst>
          </p:cNvPr>
          <p:cNvSpPr>
            <a:spLocks noGrp="1"/>
          </p:cNvSpPr>
          <p:nvPr>
            <p:ph type="sldNum" sz="quarter" idx="5"/>
          </p:nvPr>
        </p:nvSpPr>
        <p:spPr/>
        <p:txBody>
          <a:bodyPr/>
          <a:lstStyle/>
          <a:p>
            <a:fld id="{6E550B2D-09B8-C840-8A15-517DBABBF287}" type="slidenum">
              <a:rPr lang="es-CO" smtClean="0"/>
              <a:t>5</a:t>
            </a:fld>
            <a:endParaRPr lang="es-CO"/>
          </a:p>
        </p:txBody>
      </p:sp>
    </p:spTree>
    <p:extLst>
      <p:ext uri="{BB962C8B-B14F-4D97-AF65-F5344CB8AC3E}">
        <p14:creationId xmlns:p14="http://schemas.microsoft.com/office/powerpoint/2010/main" val="2104834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8340B-D4CD-8F37-5028-96B2527BBEB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D8E7729-9ADE-984B-8775-EC1A354A8D9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2B21236-7121-27D4-08C7-6A0FCAFC3DFF}"/>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928D824C-AC5D-B84E-D59F-9C0119F9D725}"/>
              </a:ext>
            </a:extLst>
          </p:cNvPr>
          <p:cNvSpPr>
            <a:spLocks noGrp="1"/>
          </p:cNvSpPr>
          <p:nvPr>
            <p:ph type="sldNum" sz="quarter" idx="5"/>
          </p:nvPr>
        </p:nvSpPr>
        <p:spPr/>
        <p:txBody>
          <a:bodyPr/>
          <a:lstStyle/>
          <a:p>
            <a:fld id="{6E550B2D-09B8-C840-8A15-517DBABBF287}" type="slidenum">
              <a:rPr lang="es-CO" smtClean="0"/>
              <a:t>6</a:t>
            </a:fld>
            <a:endParaRPr lang="es-CO"/>
          </a:p>
        </p:txBody>
      </p:sp>
    </p:spTree>
    <p:extLst>
      <p:ext uri="{BB962C8B-B14F-4D97-AF65-F5344CB8AC3E}">
        <p14:creationId xmlns:p14="http://schemas.microsoft.com/office/powerpoint/2010/main" val="3643949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DC311-49FF-9128-60C2-3B2D14B812A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AB2F3DF-B212-2CD4-93F9-BEC59F29296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A038984-3D3F-5CBF-6D3E-E77E60EFA048}"/>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D1BB292A-8068-0F41-395E-DDE937FB38BF}"/>
              </a:ext>
            </a:extLst>
          </p:cNvPr>
          <p:cNvSpPr>
            <a:spLocks noGrp="1"/>
          </p:cNvSpPr>
          <p:nvPr>
            <p:ph type="sldNum" sz="quarter" idx="5"/>
          </p:nvPr>
        </p:nvSpPr>
        <p:spPr/>
        <p:txBody>
          <a:bodyPr/>
          <a:lstStyle/>
          <a:p>
            <a:fld id="{6E550B2D-09B8-C840-8A15-517DBABBF287}" type="slidenum">
              <a:rPr lang="es-CO" smtClean="0"/>
              <a:t>7</a:t>
            </a:fld>
            <a:endParaRPr lang="es-CO"/>
          </a:p>
        </p:txBody>
      </p:sp>
    </p:spTree>
    <p:extLst>
      <p:ext uri="{BB962C8B-B14F-4D97-AF65-F5344CB8AC3E}">
        <p14:creationId xmlns:p14="http://schemas.microsoft.com/office/powerpoint/2010/main" val="3209671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82979-274B-5BF1-E2E2-0D72BF0361F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13B4B4C-8B6D-49BA-FD53-1A6575EDAF9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AAF170D-E8CE-BAA6-0B20-1CAB9E1F4BF4}"/>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759D0107-5381-ECE6-4355-9BF08A842E34}"/>
              </a:ext>
            </a:extLst>
          </p:cNvPr>
          <p:cNvSpPr>
            <a:spLocks noGrp="1"/>
          </p:cNvSpPr>
          <p:nvPr>
            <p:ph type="sldNum" sz="quarter" idx="5"/>
          </p:nvPr>
        </p:nvSpPr>
        <p:spPr/>
        <p:txBody>
          <a:bodyPr/>
          <a:lstStyle/>
          <a:p>
            <a:fld id="{6E550B2D-09B8-C840-8A15-517DBABBF287}" type="slidenum">
              <a:rPr lang="es-CO" smtClean="0"/>
              <a:t>8</a:t>
            </a:fld>
            <a:endParaRPr lang="es-CO"/>
          </a:p>
        </p:txBody>
      </p:sp>
    </p:spTree>
    <p:extLst>
      <p:ext uri="{BB962C8B-B14F-4D97-AF65-F5344CB8AC3E}">
        <p14:creationId xmlns:p14="http://schemas.microsoft.com/office/powerpoint/2010/main" val="4041466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6AA40-142C-3C8B-177F-542B4A6667D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3D18523-844F-3895-D3CA-C47510770CD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E04292C-07CF-1EF5-0F87-44A73317F5E1}"/>
              </a:ext>
            </a:extLst>
          </p:cNvPr>
          <p:cNvSpPr>
            <a:spLocks noGrp="1"/>
          </p:cNvSpPr>
          <p:nvPr>
            <p:ph type="body" idx="1"/>
          </p:nvPr>
        </p:nvSpPr>
        <p:spPr/>
        <p:txBody>
          <a:bodyPr/>
          <a:lstStyle/>
          <a:p>
            <a:endParaRPr lang="es-CO" dirty="0"/>
          </a:p>
        </p:txBody>
      </p:sp>
      <p:sp>
        <p:nvSpPr>
          <p:cNvPr id="4" name="Marcador de número de diapositiva 3">
            <a:extLst>
              <a:ext uri="{FF2B5EF4-FFF2-40B4-BE49-F238E27FC236}">
                <a16:creationId xmlns:a16="http://schemas.microsoft.com/office/drawing/2014/main" id="{2CC37B02-81F6-0BBB-C349-FFB682D764CB}"/>
              </a:ext>
            </a:extLst>
          </p:cNvPr>
          <p:cNvSpPr>
            <a:spLocks noGrp="1"/>
          </p:cNvSpPr>
          <p:nvPr>
            <p:ph type="sldNum" sz="quarter" idx="5"/>
          </p:nvPr>
        </p:nvSpPr>
        <p:spPr/>
        <p:txBody>
          <a:bodyPr/>
          <a:lstStyle/>
          <a:p>
            <a:fld id="{6E550B2D-09B8-C840-8A15-517DBABBF287}" type="slidenum">
              <a:rPr lang="es-CO" smtClean="0"/>
              <a:t>9</a:t>
            </a:fld>
            <a:endParaRPr lang="es-CO"/>
          </a:p>
        </p:txBody>
      </p:sp>
    </p:spTree>
    <p:extLst>
      <p:ext uri="{BB962C8B-B14F-4D97-AF65-F5344CB8AC3E}">
        <p14:creationId xmlns:p14="http://schemas.microsoft.com/office/powerpoint/2010/main" val="8553310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4175E5A-D883-AF18-B421-4D488B2D4155}"/>
              </a:ext>
            </a:extLst>
          </p:cNvPr>
          <p:cNvSpPr>
            <a:spLocks noGrp="1"/>
          </p:cNvSpPr>
          <p:nvPr>
            <p:ph type="ctrTitle"/>
          </p:nvPr>
        </p:nvSpPr>
        <p:spPr>
          <a:xfrm>
            <a:off x="1524000" y="1122363"/>
            <a:ext cx="9144000" cy="2387600"/>
          </a:xfrm>
        </p:spPr>
        <p:txBody>
          <a:bodyPr anchor="b"/>
          <a:lstStyle>
            <a:lvl1pPr algn="ctr">
              <a:defRPr sz="6000"/>
            </a:lvl1pPr>
          </a:lstStyle>
          <a:p>
            <a:r>
              <a:rPr lang="es-MX"/>
              <a:t>Haz clic para modificar el estilo de título del patrón</a:t>
            </a:r>
            <a:endParaRPr lang="es-CO"/>
          </a:p>
        </p:txBody>
      </p:sp>
      <p:sp>
        <p:nvSpPr>
          <p:cNvPr id="3" name="Subtítulo 2">
            <a:extLst>
              <a:ext uri="{FF2B5EF4-FFF2-40B4-BE49-F238E27FC236}">
                <a16:creationId xmlns:a16="http://schemas.microsoft.com/office/drawing/2014/main" id="{9DB68FB1-F730-E0AF-A390-7FE1647A0F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CO"/>
          </a:p>
        </p:txBody>
      </p:sp>
      <p:sp>
        <p:nvSpPr>
          <p:cNvPr id="4" name="Marcador de fecha 3">
            <a:extLst>
              <a:ext uri="{FF2B5EF4-FFF2-40B4-BE49-F238E27FC236}">
                <a16:creationId xmlns:a16="http://schemas.microsoft.com/office/drawing/2014/main" id="{F3A75EC7-BB44-64C1-98E4-FD14AB60527F}"/>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1D957F7C-E7F4-B660-661E-1D866F4AF189}"/>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400E944-1EB5-B505-E95E-85769507FB9F}"/>
              </a:ext>
            </a:extLst>
          </p:cNvPr>
          <p:cNvSpPr>
            <a:spLocks noGrp="1"/>
          </p:cNvSpPr>
          <p:nvPr>
            <p:ph type="sldNum" sz="quarter" idx="12"/>
          </p:nvPr>
        </p:nvSpPr>
        <p:spPr/>
        <p:txBody>
          <a:bodyPr/>
          <a:lstStyle/>
          <a:p>
            <a:fld id="{DC038868-23F9-8D49-B6F6-FA43A7AB288B}" type="slidenum">
              <a:rPr lang="es-CO" smtClean="0"/>
              <a:t>‹Nº›</a:t>
            </a:fld>
            <a:endParaRPr lang="es-CO"/>
          </a:p>
        </p:txBody>
      </p:sp>
      <p:sp>
        <p:nvSpPr>
          <p:cNvPr id="11" name="Rectángulo 10">
            <a:extLst>
              <a:ext uri="{FF2B5EF4-FFF2-40B4-BE49-F238E27FC236}">
                <a16:creationId xmlns:a16="http://schemas.microsoft.com/office/drawing/2014/main" id="{12C19906-6BCC-AA39-43A1-6ED5559EAB92}"/>
              </a:ext>
            </a:extLst>
          </p:cNvPr>
          <p:cNvSpPr/>
          <p:nvPr userDrawn="1"/>
        </p:nvSpPr>
        <p:spPr>
          <a:xfrm>
            <a:off x="-92" y="0"/>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7" name="Imagen 6">
            <a:extLst>
              <a:ext uri="{FF2B5EF4-FFF2-40B4-BE49-F238E27FC236}">
                <a16:creationId xmlns:a16="http://schemas.microsoft.com/office/drawing/2014/main" id="{3F094CDF-4DF2-6C2B-346B-6393FDFEC385}"/>
              </a:ext>
            </a:extLst>
          </p:cNvPr>
          <p:cNvPicPr>
            <a:picLocks noChangeAspect="1"/>
          </p:cNvPicPr>
          <p:nvPr userDrawn="1"/>
        </p:nvPicPr>
        <p:blipFill>
          <a:blip r:embed="rId2"/>
          <a:stretch>
            <a:fillRect/>
          </a:stretch>
        </p:blipFill>
        <p:spPr>
          <a:xfrm>
            <a:off x="10555966" y="161925"/>
            <a:ext cx="1417867" cy="1281810"/>
          </a:xfrm>
          <a:prstGeom prst="rect">
            <a:avLst/>
          </a:prstGeom>
        </p:spPr>
      </p:pic>
    </p:spTree>
    <p:extLst>
      <p:ext uri="{BB962C8B-B14F-4D97-AF65-F5344CB8AC3E}">
        <p14:creationId xmlns:p14="http://schemas.microsoft.com/office/powerpoint/2010/main" val="18845413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1E8E2-2FAD-0AF9-D012-258B879D0CD6}"/>
              </a:ext>
            </a:extLst>
          </p:cNvPr>
          <p:cNvSpPr>
            <a:spLocks noGrp="1"/>
          </p:cNvSpPr>
          <p:nvPr>
            <p:ph type="title"/>
          </p:nvPr>
        </p:nvSpPr>
        <p:spPr/>
        <p:txBody>
          <a:bodyPr/>
          <a:lstStyle/>
          <a:p>
            <a:r>
              <a:rPr lang="es-MX"/>
              <a:t>Haz clic para modificar el estilo de título del patrón</a:t>
            </a:r>
            <a:endParaRPr lang="es-CO"/>
          </a:p>
        </p:txBody>
      </p:sp>
      <p:sp>
        <p:nvSpPr>
          <p:cNvPr id="3" name="Marcador de texto vertical 2">
            <a:extLst>
              <a:ext uri="{FF2B5EF4-FFF2-40B4-BE49-F238E27FC236}">
                <a16:creationId xmlns:a16="http://schemas.microsoft.com/office/drawing/2014/main" id="{DA0D0FB7-3A6F-C4C5-06B4-3785D63C8110}"/>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fecha 3">
            <a:extLst>
              <a:ext uri="{FF2B5EF4-FFF2-40B4-BE49-F238E27FC236}">
                <a16:creationId xmlns:a16="http://schemas.microsoft.com/office/drawing/2014/main" id="{78E099D0-20BB-C78E-2D0F-46BBAA21D249}"/>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2D2D4C0A-D270-CC18-48EF-41EB2DD2DFDC}"/>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7A134EF5-CFE9-A6E1-4BC0-1F159FE1F74B}"/>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2316063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25D6F16-9708-BDC7-D528-056F70C59538}"/>
              </a:ext>
            </a:extLst>
          </p:cNvPr>
          <p:cNvSpPr>
            <a:spLocks noGrp="1"/>
          </p:cNvSpPr>
          <p:nvPr>
            <p:ph type="title" orient="vert"/>
          </p:nvPr>
        </p:nvSpPr>
        <p:spPr>
          <a:xfrm>
            <a:off x="8724900" y="365125"/>
            <a:ext cx="2628900" cy="5811838"/>
          </a:xfrm>
        </p:spPr>
        <p:txBody>
          <a:bodyPr vert="eaVert"/>
          <a:lstStyle/>
          <a:p>
            <a:r>
              <a:rPr lang="es-MX"/>
              <a:t>Haz clic para modificar el estilo de título del patrón</a:t>
            </a:r>
            <a:endParaRPr lang="es-CO"/>
          </a:p>
        </p:txBody>
      </p:sp>
      <p:sp>
        <p:nvSpPr>
          <p:cNvPr id="3" name="Marcador de texto vertical 2">
            <a:extLst>
              <a:ext uri="{FF2B5EF4-FFF2-40B4-BE49-F238E27FC236}">
                <a16:creationId xmlns:a16="http://schemas.microsoft.com/office/drawing/2014/main" id="{BF1E2746-44F6-7260-8192-1FB9E5ABEB29}"/>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fecha 3">
            <a:extLst>
              <a:ext uri="{FF2B5EF4-FFF2-40B4-BE49-F238E27FC236}">
                <a16:creationId xmlns:a16="http://schemas.microsoft.com/office/drawing/2014/main" id="{A6A69160-BC69-9569-03FC-8C31A49594E5}"/>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48F90355-F280-7C50-AB36-79BCB0C3AA88}"/>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18D376CF-A7C8-8781-3668-1E0320F9D41E}"/>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26844479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491603" y="1448"/>
            <a:ext cx="2867025" cy="1479755"/>
          </a:xfrm>
          <a:prstGeom prst="rect">
            <a:avLst/>
          </a:prstGeom>
          <a:blipFill dpi="0" rotWithShape="1">
            <a:blip r:embed="rId2" cstate="print">
              <a:alphaModFix amt="20000"/>
            </a:blip>
            <a:srcRect/>
            <a:stretch>
              <a:fillRect/>
            </a:stretch>
          </a:blipFill>
        </p:spPr>
        <p:txBody>
          <a:bodyPr wrap="square" lIns="0" tIns="0" rIns="0" bIns="0" rtlCol="0"/>
          <a:lstStyle/>
          <a:p>
            <a:endParaRPr sz="1350"/>
          </a:p>
        </p:txBody>
      </p:sp>
      <p:sp>
        <p:nvSpPr>
          <p:cNvPr id="17" name="bk object 17"/>
          <p:cNvSpPr/>
          <p:nvPr/>
        </p:nvSpPr>
        <p:spPr>
          <a:xfrm>
            <a:off x="9238089" y="1447"/>
            <a:ext cx="1094899" cy="458153"/>
          </a:xfrm>
          <a:custGeom>
            <a:avLst/>
            <a:gdLst/>
            <a:ahLst/>
            <a:cxnLst/>
            <a:rect l="l" t="t" r="r" b="b"/>
            <a:pathLst>
              <a:path w="1459865" h="610870">
                <a:moveTo>
                  <a:pt x="1459243" y="0"/>
                </a:moveTo>
                <a:lnTo>
                  <a:pt x="0" y="0"/>
                </a:lnTo>
                <a:lnTo>
                  <a:pt x="9719" y="47520"/>
                </a:lnTo>
                <a:lnTo>
                  <a:pt x="25970" y="103697"/>
                </a:lnTo>
                <a:lnTo>
                  <a:pt x="46437" y="157948"/>
                </a:lnTo>
                <a:lnTo>
                  <a:pt x="70930" y="210081"/>
                </a:lnTo>
                <a:lnTo>
                  <a:pt x="99258" y="259907"/>
                </a:lnTo>
                <a:lnTo>
                  <a:pt x="131229" y="307233"/>
                </a:lnTo>
                <a:lnTo>
                  <a:pt x="166652" y="351870"/>
                </a:lnTo>
                <a:lnTo>
                  <a:pt x="205338" y="393627"/>
                </a:lnTo>
                <a:lnTo>
                  <a:pt x="247095" y="432312"/>
                </a:lnTo>
                <a:lnTo>
                  <a:pt x="291732" y="467735"/>
                </a:lnTo>
                <a:lnTo>
                  <a:pt x="339059" y="499705"/>
                </a:lnTo>
                <a:lnTo>
                  <a:pt x="388884" y="528032"/>
                </a:lnTo>
                <a:lnTo>
                  <a:pt x="441017" y="552524"/>
                </a:lnTo>
                <a:lnTo>
                  <a:pt x="495267" y="572991"/>
                </a:lnTo>
                <a:lnTo>
                  <a:pt x="551444" y="589242"/>
                </a:lnTo>
                <a:lnTo>
                  <a:pt x="609355" y="601086"/>
                </a:lnTo>
                <a:lnTo>
                  <a:pt x="668811" y="608333"/>
                </a:lnTo>
                <a:lnTo>
                  <a:pt x="729621" y="610790"/>
                </a:lnTo>
                <a:lnTo>
                  <a:pt x="790432" y="608333"/>
                </a:lnTo>
                <a:lnTo>
                  <a:pt x="849890" y="601086"/>
                </a:lnTo>
                <a:lnTo>
                  <a:pt x="907803" y="589242"/>
                </a:lnTo>
                <a:lnTo>
                  <a:pt x="963980" y="572991"/>
                </a:lnTo>
                <a:lnTo>
                  <a:pt x="1018230" y="552524"/>
                </a:lnTo>
                <a:lnTo>
                  <a:pt x="1070364" y="528032"/>
                </a:lnTo>
                <a:lnTo>
                  <a:pt x="1120189" y="499705"/>
                </a:lnTo>
                <a:lnTo>
                  <a:pt x="1167515" y="467735"/>
                </a:lnTo>
                <a:lnTo>
                  <a:pt x="1212152" y="432312"/>
                </a:lnTo>
                <a:lnTo>
                  <a:pt x="1253909" y="393627"/>
                </a:lnTo>
                <a:lnTo>
                  <a:pt x="1292594" y="351870"/>
                </a:lnTo>
                <a:lnTo>
                  <a:pt x="1328017" y="307233"/>
                </a:lnTo>
                <a:lnTo>
                  <a:pt x="1359988" y="259907"/>
                </a:lnTo>
                <a:lnTo>
                  <a:pt x="1388314" y="210081"/>
                </a:lnTo>
                <a:lnTo>
                  <a:pt x="1412806" y="157948"/>
                </a:lnTo>
                <a:lnTo>
                  <a:pt x="1433273" y="103697"/>
                </a:lnTo>
                <a:lnTo>
                  <a:pt x="1449524" y="47520"/>
                </a:lnTo>
                <a:lnTo>
                  <a:pt x="1459243" y="0"/>
                </a:lnTo>
                <a:close/>
              </a:path>
            </a:pathLst>
          </a:custGeom>
          <a:solidFill>
            <a:srgbClr val="9328CC"/>
          </a:solidFill>
        </p:spPr>
        <p:txBody>
          <a:bodyPr wrap="square" lIns="0" tIns="0" rIns="0" bIns="0" rtlCol="0"/>
          <a:lstStyle/>
          <a:p>
            <a:endParaRPr sz="1350"/>
          </a:p>
        </p:txBody>
      </p:sp>
      <p:sp>
        <p:nvSpPr>
          <p:cNvPr id="18" name="bk object 18"/>
          <p:cNvSpPr/>
          <p:nvPr/>
        </p:nvSpPr>
        <p:spPr>
          <a:xfrm>
            <a:off x="1" y="1448"/>
            <a:ext cx="2797850" cy="3787003"/>
          </a:xfrm>
          <a:prstGeom prst="rect">
            <a:avLst/>
          </a:prstGeom>
          <a:blipFill dpi="0" rotWithShape="1">
            <a:blip r:embed="rId3" cstate="print">
              <a:alphaModFix amt="20000"/>
            </a:blip>
            <a:srcRect/>
            <a:stretch>
              <a:fillRect/>
            </a:stretch>
          </a:blipFill>
        </p:spPr>
        <p:txBody>
          <a:bodyPr wrap="square" lIns="0" tIns="0" rIns="0" bIns="0" rtlCol="0"/>
          <a:lstStyle/>
          <a:p>
            <a:endParaRPr sz="1350"/>
          </a:p>
        </p:txBody>
      </p:sp>
      <p:sp>
        <p:nvSpPr>
          <p:cNvPr id="19" name="bk object 19"/>
          <p:cNvSpPr/>
          <p:nvPr/>
        </p:nvSpPr>
        <p:spPr>
          <a:xfrm>
            <a:off x="0" y="1573"/>
            <a:ext cx="988695" cy="1983105"/>
          </a:xfrm>
          <a:custGeom>
            <a:avLst/>
            <a:gdLst/>
            <a:ahLst/>
            <a:cxnLst/>
            <a:rect l="l" t="t" r="r" b="b"/>
            <a:pathLst>
              <a:path w="1318260" h="2644140">
                <a:moveTo>
                  <a:pt x="0" y="2643830"/>
                </a:moveTo>
                <a:lnTo>
                  <a:pt x="104293" y="2639615"/>
                </a:lnTo>
                <a:lnTo>
                  <a:pt x="210311" y="2626694"/>
                </a:lnTo>
                <a:lnTo>
                  <a:pt x="313575" y="2605574"/>
                </a:lnTo>
                <a:lnTo>
                  <a:pt x="413744" y="2576596"/>
                </a:lnTo>
                <a:lnTo>
                  <a:pt x="510478" y="2540101"/>
                </a:lnTo>
                <a:lnTo>
                  <a:pt x="603437" y="2496428"/>
                </a:lnTo>
                <a:lnTo>
                  <a:pt x="692281" y="2445918"/>
                </a:lnTo>
                <a:lnTo>
                  <a:pt x="776669" y="2388911"/>
                </a:lnTo>
                <a:lnTo>
                  <a:pt x="856261" y="2325747"/>
                </a:lnTo>
                <a:lnTo>
                  <a:pt x="930717" y="2256767"/>
                </a:lnTo>
                <a:lnTo>
                  <a:pt x="999697" y="2182310"/>
                </a:lnTo>
                <a:lnTo>
                  <a:pt x="1062860" y="2102718"/>
                </a:lnTo>
                <a:lnTo>
                  <a:pt x="1119867" y="2018329"/>
                </a:lnTo>
                <a:lnTo>
                  <a:pt x="1170376" y="1929486"/>
                </a:lnTo>
                <a:lnTo>
                  <a:pt x="1214049" y="1836527"/>
                </a:lnTo>
                <a:lnTo>
                  <a:pt x="1250543" y="1739793"/>
                </a:lnTo>
                <a:lnTo>
                  <a:pt x="1279520" y="1639625"/>
                </a:lnTo>
                <a:lnTo>
                  <a:pt x="1300640" y="1536362"/>
                </a:lnTo>
                <a:lnTo>
                  <a:pt x="1313561" y="1430346"/>
                </a:lnTo>
                <a:lnTo>
                  <a:pt x="1317943" y="1321915"/>
                </a:lnTo>
                <a:lnTo>
                  <a:pt x="1313561" y="1213483"/>
                </a:lnTo>
                <a:lnTo>
                  <a:pt x="1300640" y="1107464"/>
                </a:lnTo>
                <a:lnTo>
                  <a:pt x="1279520" y="1004201"/>
                </a:lnTo>
                <a:lnTo>
                  <a:pt x="1250543" y="904032"/>
                </a:lnTo>
                <a:lnTo>
                  <a:pt x="1214049" y="807297"/>
                </a:lnTo>
                <a:lnTo>
                  <a:pt x="1170376" y="714338"/>
                </a:lnTo>
                <a:lnTo>
                  <a:pt x="1119867" y="625495"/>
                </a:lnTo>
                <a:lnTo>
                  <a:pt x="1062860" y="541107"/>
                </a:lnTo>
                <a:lnTo>
                  <a:pt x="999697" y="461515"/>
                </a:lnTo>
                <a:lnTo>
                  <a:pt x="930717" y="387058"/>
                </a:lnTo>
                <a:lnTo>
                  <a:pt x="856261" y="318079"/>
                </a:lnTo>
                <a:lnTo>
                  <a:pt x="776669" y="254915"/>
                </a:lnTo>
                <a:lnTo>
                  <a:pt x="692281" y="197909"/>
                </a:lnTo>
                <a:lnTo>
                  <a:pt x="603437" y="147399"/>
                </a:lnTo>
                <a:lnTo>
                  <a:pt x="510478" y="103727"/>
                </a:lnTo>
                <a:lnTo>
                  <a:pt x="413744" y="67232"/>
                </a:lnTo>
                <a:lnTo>
                  <a:pt x="313575" y="38255"/>
                </a:lnTo>
                <a:lnTo>
                  <a:pt x="210311" y="17136"/>
                </a:lnTo>
                <a:lnTo>
                  <a:pt x="104293" y="4215"/>
                </a:lnTo>
                <a:lnTo>
                  <a:pt x="0" y="0"/>
                </a:lnTo>
                <a:lnTo>
                  <a:pt x="0" y="2643830"/>
                </a:lnTo>
              </a:path>
            </a:pathLst>
          </a:custGeom>
          <a:solidFill>
            <a:srgbClr val="7757AF"/>
          </a:solidFill>
        </p:spPr>
        <p:txBody>
          <a:bodyPr wrap="square" lIns="0" tIns="0" rIns="0" bIns="0" rtlCol="0"/>
          <a:lstStyle/>
          <a:p>
            <a:endParaRPr sz="1350"/>
          </a:p>
        </p:txBody>
      </p:sp>
      <p:sp>
        <p:nvSpPr>
          <p:cNvPr id="20" name="bk object 20"/>
          <p:cNvSpPr/>
          <p:nvPr/>
        </p:nvSpPr>
        <p:spPr>
          <a:xfrm>
            <a:off x="10032376" y="4545977"/>
            <a:ext cx="2156528" cy="2312023"/>
          </a:xfrm>
          <a:prstGeom prst="rect">
            <a:avLst/>
          </a:prstGeom>
          <a:blipFill dpi="0" rotWithShape="1">
            <a:blip r:embed="rId4" cstate="print">
              <a:alphaModFix amt="20000"/>
            </a:blip>
            <a:srcRect/>
            <a:stretch>
              <a:fillRect/>
            </a:stretch>
          </a:blipFill>
        </p:spPr>
        <p:txBody>
          <a:bodyPr wrap="square" lIns="0" tIns="0" rIns="0" bIns="0" rtlCol="0"/>
          <a:lstStyle/>
          <a:p>
            <a:endParaRPr sz="1350"/>
          </a:p>
        </p:txBody>
      </p:sp>
      <p:sp>
        <p:nvSpPr>
          <p:cNvPr id="21" name="bk object 21"/>
          <p:cNvSpPr/>
          <p:nvPr/>
        </p:nvSpPr>
        <p:spPr>
          <a:xfrm>
            <a:off x="11095584" y="5609953"/>
            <a:ext cx="1093470" cy="1248251"/>
          </a:xfrm>
          <a:custGeom>
            <a:avLst/>
            <a:gdLst/>
            <a:ahLst/>
            <a:cxnLst/>
            <a:rect l="l" t="t" r="r" b="b"/>
            <a:pathLst>
              <a:path w="1457959" h="1664334">
                <a:moveTo>
                  <a:pt x="1066990" y="0"/>
                </a:moveTo>
                <a:lnTo>
                  <a:pt x="979481" y="3537"/>
                </a:lnTo>
                <a:lnTo>
                  <a:pt x="893919" y="13965"/>
                </a:lnTo>
                <a:lnTo>
                  <a:pt x="810581" y="31009"/>
                </a:lnTo>
                <a:lnTo>
                  <a:pt x="729739" y="54396"/>
                </a:lnTo>
                <a:lnTo>
                  <a:pt x="651670" y="83849"/>
                </a:lnTo>
                <a:lnTo>
                  <a:pt x="576648" y="119096"/>
                </a:lnTo>
                <a:lnTo>
                  <a:pt x="504946" y="159860"/>
                </a:lnTo>
                <a:lnTo>
                  <a:pt x="436840" y="205868"/>
                </a:lnTo>
                <a:lnTo>
                  <a:pt x="372605" y="256844"/>
                </a:lnTo>
                <a:lnTo>
                  <a:pt x="312515" y="312515"/>
                </a:lnTo>
                <a:lnTo>
                  <a:pt x="256844" y="372605"/>
                </a:lnTo>
                <a:lnTo>
                  <a:pt x="205868" y="436840"/>
                </a:lnTo>
                <a:lnTo>
                  <a:pt x="159860" y="504946"/>
                </a:lnTo>
                <a:lnTo>
                  <a:pt x="119096" y="576648"/>
                </a:lnTo>
                <a:lnTo>
                  <a:pt x="83849" y="651670"/>
                </a:lnTo>
                <a:lnTo>
                  <a:pt x="54396" y="729739"/>
                </a:lnTo>
                <a:lnTo>
                  <a:pt x="31009" y="810581"/>
                </a:lnTo>
                <a:lnTo>
                  <a:pt x="13965" y="893919"/>
                </a:lnTo>
                <a:lnTo>
                  <a:pt x="3537" y="979481"/>
                </a:lnTo>
                <a:lnTo>
                  <a:pt x="0" y="1066990"/>
                </a:lnTo>
                <a:lnTo>
                  <a:pt x="3537" y="1154499"/>
                </a:lnTo>
                <a:lnTo>
                  <a:pt x="13965" y="1240061"/>
                </a:lnTo>
                <a:lnTo>
                  <a:pt x="31009" y="1323399"/>
                </a:lnTo>
                <a:lnTo>
                  <a:pt x="54396" y="1404241"/>
                </a:lnTo>
                <a:lnTo>
                  <a:pt x="83849" y="1482310"/>
                </a:lnTo>
                <a:lnTo>
                  <a:pt x="119096" y="1557332"/>
                </a:lnTo>
                <a:lnTo>
                  <a:pt x="159860" y="1629034"/>
                </a:lnTo>
                <a:lnTo>
                  <a:pt x="183523" y="1664063"/>
                </a:lnTo>
                <a:lnTo>
                  <a:pt x="1457761" y="1664063"/>
                </a:lnTo>
                <a:lnTo>
                  <a:pt x="1457761" y="74586"/>
                </a:lnTo>
                <a:lnTo>
                  <a:pt x="1404245" y="54396"/>
                </a:lnTo>
                <a:lnTo>
                  <a:pt x="1323403" y="31009"/>
                </a:lnTo>
                <a:lnTo>
                  <a:pt x="1240064" y="13965"/>
                </a:lnTo>
                <a:lnTo>
                  <a:pt x="1154501" y="3537"/>
                </a:lnTo>
                <a:lnTo>
                  <a:pt x="1066990" y="0"/>
                </a:lnTo>
                <a:close/>
              </a:path>
            </a:pathLst>
          </a:custGeom>
          <a:solidFill>
            <a:srgbClr val="7757AF"/>
          </a:solidFill>
        </p:spPr>
        <p:txBody>
          <a:bodyPr wrap="square" lIns="0" tIns="0" rIns="0" bIns="0" rtlCol="0"/>
          <a:lstStyle/>
          <a:p>
            <a:endParaRPr sz="1350"/>
          </a:p>
        </p:txBody>
      </p:sp>
      <p:grpSp>
        <p:nvGrpSpPr>
          <p:cNvPr id="5" name="Grupo 4">
            <a:extLst>
              <a:ext uri="{FF2B5EF4-FFF2-40B4-BE49-F238E27FC236}">
                <a16:creationId xmlns:a16="http://schemas.microsoft.com/office/drawing/2014/main" id="{9A2DA453-0967-DD64-06C4-7A1A4EA5DAAF}"/>
              </a:ext>
            </a:extLst>
          </p:cNvPr>
          <p:cNvGrpSpPr/>
          <p:nvPr userDrawn="1"/>
        </p:nvGrpSpPr>
        <p:grpSpPr>
          <a:xfrm>
            <a:off x="1344863" y="1177048"/>
            <a:ext cx="1162577" cy="1262201"/>
            <a:chOff x="1793151" y="1569397"/>
            <a:chExt cx="1550102" cy="1682935"/>
          </a:xfrm>
        </p:grpSpPr>
        <p:sp>
          <p:nvSpPr>
            <p:cNvPr id="22" name="bk object 22"/>
            <p:cNvSpPr/>
            <p:nvPr/>
          </p:nvSpPr>
          <p:spPr>
            <a:xfrm>
              <a:off x="1793151" y="2487542"/>
              <a:ext cx="57785" cy="57150"/>
            </a:xfrm>
            <a:custGeom>
              <a:avLst/>
              <a:gdLst/>
              <a:ahLst/>
              <a:cxnLst/>
              <a:rect l="l" t="t" r="r" b="b"/>
              <a:pathLst>
                <a:path w="57785"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23" name="bk object 23"/>
            <p:cNvSpPr/>
            <p:nvPr/>
          </p:nvSpPr>
          <p:spPr>
            <a:xfrm>
              <a:off x="2041863" y="2487545"/>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24" name="bk object 24"/>
            <p:cNvSpPr/>
            <p:nvPr/>
          </p:nvSpPr>
          <p:spPr>
            <a:xfrm>
              <a:off x="2290581" y="2487546"/>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25" name="bk object 25"/>
            <p:cNvSpPr/>
            <p:nvPr/>
          </p:nvSpPr>
          <p:spPr>
            <a:xfrm>
              <a:off x="2539303" y="2487545"/>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26" name="bk object 26"/>
            <p:cNvSpPr/>
            <p:nvPr/>
          </p:nvSpPr>
          <p:spPr>
            <a:xfrm>
              <a:off x="1793154" y="2723420"/>
              <a:ext cx="57785" cy="57150"/>
            </a:xfrm>
            <a:custGeom>
              <a:avLst/>
              <a:gdLst/>
              <a:ahLst/>
              <a:cxnLst/>
              <a:rect l="l" t="t" r="r" b="b"/>
              <a:pathLst>
                <a:path w="57785" h="57150">
                  <a:moveTo>
                    <a:pt x="20835" y="0"/>
                  </a:moveTo>
                  <a:lnTo>
                    <a:pt x="9853" y="6214"/>
                  </a:lnTo>
                  <a:lnTo>
                    <a:pt x="2452" y="17613"/>
                  </a:lnTo>
                  <a:lnTo>
                    <a:pt x="0" y="33648"/>
                  </a:lnTo>
                  <a:lnTo>
                    <a:pt x="5646" y="45541"/>
                  </a:lnTo>
                  <a:lnTo>
                    <a:pt x="16523" y="53729"/>
                  </a:lnTo>
                  <a:lnTo>
                    <a:pt x="31631" y="56689"/>
                  </a:lnTo>
                  <a:lnTo>
                    <a:pt x="44708" y="51815"/>
                  </a:lnTo>
                  <a:lnTo>
                    <a:pt x="53857" y="41634"/>
                  </a:lnTo>
                  <a:lnTo>
                    <a:pt x="57302" y="27929"/>
                  </a:lnTo>
                  <a:lnTo>
                    <a:pt x="55876" y="19102"/>
                  </a:lnTo>
                  <a:lnTo>
                    <a:pt x="49250" y="8796"/>
                  </a:lnTo>
                  <a:lnTo>
                    <a:pt x="37476" y="2002"/>
                  </a:lnTo>
                  <a:lnTo>
                    <a:pt x="20835" y="0"/>
                  </a:lnTo>
                  <a:close/>
                </a:path>
              </a:pathLst>
            </a:custGeom>
            <a:solidFill>
              <a:srgbClr val="606060"/>
            </a:solidFill>
          </p:spPr>
          <p:txBody>
            <a:bodyPr wrap="square" lIns="0" tIns="0" rIns="0" bIns="0" rtlCol="0"/>
            <a:lstStyle/>
            <a:p>
              <a:endParaRPr sz="1350"/>
            </a:p>
          </p:txBody>
        </p:sp>
        <p:sp>
          <p:nvSpPr>
            <p:cNvPr id="27" name="bk object 27"/>
            <p:cNvSpPr/>
            <p:nvPr/>
          </p:nvSpPr>
          <p:spPr>
            <a:xfrm>
              <a:off x="2041866" y="2723423"/>
              <a:ext cx="57785" cy="57150"/>
            </a:xfrm>
            <a:custGeom>
              <a:avLst/>
              <a:gdLst/>
              <a:ahLst/>
              <a:cxnLst/>
              <a:rect l="l" t="t" r="r" b="b"/>
              <a:pathLst>
                <a:path w="57785"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28" name="bk object 28"/>
            <p:cNvSpPr/>
            <p:nvPr/>
          </p:nvSpPr>
          <p:spPr>
            <a:xfrm>
              <a:off x="2290584" y="2723423"/>
              <a:ext cx="57785" cy="57150"/>
            </a:xfrm>
            <a:custGeom>
              <a:avLst/>
              <a:gdLst/>
              <a:ahLst/>
              <a:cxnLst/>
              <a:rect l="l" t="t" r="r" b="b"/>
              <a:pathLst>
                <a:path w="57785" h="57150">
                  <a:moveTo>
                    <a:pt x="20831" y="0"/>
                  </a:moveTo>
                  <a:lnTo>
                    <a:pt x="9852" y="6218"/>
                  </a:lnTo>
                  <a:lnTo>
                    <a:pt x="2451" y="17617"/>
                  </a:lnTo>
                  <a:lnTo>
                    <a:pt x="0" y="33653"/>
                  </a:lnTo>
                  <a:lnTo>
                    <a:pt x="5652" y="45542"/>
                  </a:lnTo>
                  <a:lnTo>
                    <a:pt x="16534" y="53726"/>
                  </a:lnTo>
                  <a:lnTo>
                    <a:pt x="31641" y="56686"/>
                  </a:lnTo>
                  <a:lnTo>
                    <a:pt x="44718" y="51811"/>
                  </a:lnTo>
                  <a:lnTo>
                    <a:pt x="53868" y="41630"/>
                  </a:lnTo>
                  <a:lnTo>
                    <a:pt x="57313" y="27925"/>
                  </a:lnTo>
                  <a:lnTo>
                    <a:pt x="55883" y="19088"/>
                  </a:lnTo>
                  <a:lnTo>
                    <a:pt x="49254" y="8788"/>
                  </a:lnTo>
                  <a:lnTo>
                    <a:pt x="37477" y="1999"/>
                  </a:lnTo>
                  <a:lnTo>
                    <a:pt x="20831" y="0"/>
                  </a:lnTo>
                  <a:close/>
                </a:path>
              </a:pathLst>
            </a:custGeom>
            <a:solidFill>
              <a:srgbClr val="606060"/>
            </a:solidFill>
          </p:spPr>
          <p:txBody>
            <a:bodyPr wrap="square" lIns="0" tIns="0" rIns="0" bIns="0" rtlCol="0"/>
            <a:lstStyle/>
            <a:p>
              <a:endParaRPr sz="1350"/>
            </a:p>
          </p:txBody>
        </p:sp>
        <p:sp>
          <p:nvSpPr>
            <p:cNvPr id="29" name="bk object 29"/>
            <p:cNvSpPr/>
            <p:nvPr/>
          </p:nvSpPr>
          <p:spPr>
            <a:xfrm>
              <a:off x="2539306" y="2723423"/>
              <a:ext cx="57785" cy="57150"/>
            </a:xfrm>
            <a:custGeom>
              <a:avLst/>
              <a:gdLst/>
              <a:ahLst/>
              <a:cxnLst/>
              <a:rect l="l" t="t" r="r" b="b"/>
              <a:pathLst>
                <a:path w="57785"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30" name="bk object 30"/>
            <p:cNvSpPr/>
            <p:nvPr/>
          </p:nvSpPr>
          <p:spPr>
            <a:xfrm>
              <a:off x="1793151" y="2959290"/>
              <a:ext cx="57785" cy="57150"/>
            </a:xfrm>
            <a:custGeom>
              <a:avLst/>
              <a:gdLst/>
              <a:ahLst/>
              <a:cxnLst/>
              <a:rect l="l" t="t" r="r" b="b"/>
              <a:pathLst>
                <a:path w="57785"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31" name="bk object 31"/>
            <p:cNvSpPr/>
            <p:nvPr/>
          </p:nvSpPr>
          <p:spPr>
            <a:xfrm>
              <a:off x="2041863" y="2959293"/>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32" name="bk object 32"/>
            <p:cNvSpPr/>
            <p:nvPr/>
          </p:nvSpPr>
          <p:spPr>
            <a:xfrm>
              <a:off x="2290581" y="2959293"/>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33" name="bk object 33"/>
            <p:cNvSpPr/>
            <p:nvPr/>
          </p:nvSpPr>
          <p:spPr>
            <a:xfrm>
              <a:off x="2539303" y="2959293"/>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34" name="bk object 34"/>
            <p:cNvSpPr/>
            <p:nvPr/>
          </p:nvSpPr>
          <p:spPr>
            <a:xfrm>
              <a:off x="1793154" y="3195179"/>
              <a:ext cx="57785" cy="57150"/>
            </a:xfrm>
            <a:custGeom>
              <a:avLst/>
              <a:gdLst/>
              <a:ahLst/>
              <a:cxnLst/>
              <a:rect l="l" t="t" r="r" b="b"/>
              <a:pathLst>
                <a:path w="57785" h="57150">
                  <a:moveTo>
                    <a:pt x="20840" y="0"/>
                  </a:moveTo>
                  <a:lnTo>
                    <a:pt x="9856" y="6212"/>
                  </a:lnTo>
                  <a:lnTo>
                    <a:pt x="2453" y="17609"/>
                  </a:lnTo>
                  <a:lnTo>
                    <a:pt x="0" y="33640"/>
                  </a:lnTo>
                  <a:lnTo>
                    <a:pt x="5646" y="45535"/>
                  </a:lnTo>
                  <a:lnTo>
                    <a:pt x="16523" y="53720"/>
                  </a:lnTo>
                  <a:lnTo>
                    <a:pt x="31631" y="56679"/>
                  </a:lnTo>
                  <a:lnTo>
                    <a:pt x="44708" y="51807"/>
                  </a:lnTo>
                  <a:lnTo>
                    <a:pt x="53857" y="41628"/>
                  </a:lnTo>
                  <a:lnTo>
                    <a:pt x="57302" y="27918"/>
                  </a:lnTo>
                  <a:lnTo>
                    <a:pt x="55880" y="19107"/>
                  </a:lnTo>
                  <a:lnTo>
                    <a:pt x="49256" y="8801"/>
                  </a:lnTo>
                  <a:lnTo>
                    <a:pt x="37483" y="2005"/>
                  </a:lnTo>
                  <a:lnTo>
                    <a:pt x="20840" y="0"/>
                  </a:lnTo>
                  <a:close/>
                </a:path>
              </a:pathLst>
            </a:custGeom>
            <a:solidFill>
              <a:srgbClr val="606060"/>
            </a:solidFill>
          </p:spPr>
          <p:txBody>
            <a:bodyPr wrap="square" lIns="0" tIns="0" rIns="0" bIns="0" rtlCol="0"/>
            <a:lstStyle/>
            <a:p>
              <a:endParaRPr sz="1350"/>
            </a:p>
          </p:txBody>
        </p:sp>
        <p:sp>
          <p:nvSpPr>
            <p:cNvPr id="35" name="bk object 35"/>
            <p:cNvSpPr/>
            <p:nvPr/>
          </p:nvSpPr>
          <p:spPr>
            <a:xfrm>
              <a:off x="2041866" y="31951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36" name="bk object 36"/>
            <p:cNvSpPr/>
            <p:nvPr/>
          </p:nvSpPr>
          <p:spPr>
            <a:xfrm>
              <a:off x="2290584" y="3195182"/>
              <a:ext cx="57785" cy="57150"/>
            </a:xfrm>
            <a:custGeom>
              <a:avLst/>
              <a:gdLst/>
              <a:ahLst/>
              <a:cxnLst/>
              <a:rect l="l" t="t" r="r" b="b"/>
              <a:pathLst>
                <a:path w="57785" h="57150">
                  <a:moveTo>
                    <a:pt x="20837" y="0"/>
                  </a:moveTo>
                  <a:lnTo>
                    <a:pt x="9855" y="6216"/>
                  </a:lnTo>
                  <a:lnTo>
                    <a:pt x="2452" y="17613"/>
                  </a:lnTo>
                  <a:lnTo>
                    <a:pt x="0" y="33645"/>
                  </a:lnTo>
                  <a:lnTo>
                    <a:pt x="5652" y="45536"/>
                  </a:lnTo>
                  <a:lnTo>
                    <a:pt x="16534" y="53718"/>
                  </a:lnTo>
                  <a:lnTo>
                    <a:pt x="31641" y="56675"/>
                  </a:lnTo>
                  <a:lnTo>
                    <a:pt x="44718" y="51804"/>
                  </a:lnTo>
                  <a:lnTo>
                    <a:pt x="53868" y="41624"/>
                  </a:lnTo>
                  <a:lnTo>
                    <a:pt x="57313" y="27914"/>
                  </a:lnTo>
                  <a:lnTo>
                    <a:pt x="55887" y="19093"/>
                  </a:lnTo>
                  <a:lnTo>
                    <a:pt x="49260" y="8792"/>
                  </a:lnTo>
                  <a:lnTo>
                    <a:pt x="37484" y="2001"/>
                  </a:lnTo>
                  <a:lnTo>
                    <a:pt x="20837" y="0"/>
                  </a:lnTo>
                  <a:close/>
                </a:path>
              </a:pathLst>
            </a:custGeom>
            <a:solidFill>
              <a:srgbClr val="606060"/>
            </a:solidFill>
          </p:spPr>
          <p:txBody>
            <a:bodyPr wrap="square" lIns="0" tIns="0" rIns="0" bIns="0" rtlCol="0"/>
            <a:lstStyle/>
            <a:p>
              <a:endParaRPr sz="1350"/>
            </a:p>
          </p:txBody>
        </p:sp>
        <p:sp>
          <p:nvSpPr>
            <p:cNvPr id="37" name="bk object 37"/>
            <p:cNvSpPr/>
            <p:nvPr/>
          </p:nvSpPr>
          <p:spPr>
            <a:xfrm>
              <a:off x="2539306" y="31951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38" name="bk object 38"/>
            <p:cNvSpPr/>
            <p:nvPr/>
          </p:nvSpPr>
          <p:spPr>
            <a:xfrm>
              <a:off x="1793151" y="1569397"/>
              <a:ext cx="57785" cy="57150"/>
            </a:xfrm>
            <a:custGeom>
              <a:avLst/>
              <a:gdLst/>
              <a:ahLst/>
              <a:cxnLst/>
              <a:rect l="l" t="t" r="r" b="b"/>
              <a:pathLst>
                <a:path w="57785"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39" name="bk object 39"/>
            <p:cNvSpPr/>
            <p:nvPr/>
          </p:nvSpPr>
          <p:spPr>
            <a:xfrm>
              <a:off x="2041863" y="1569400"/>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40" name="bk object 40"/>
            <p:cNvSpPr/>
            <p:nvPr/>
          </p:nvSpPr>
          <p:spPr>
            <a:xfrm>
              <a:off x="2290581" y="1569400"/>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41" name="bk object 41"/>
            <p:cNvSpPr/>
            <p:nvPr/>
          </p:nvSpPr>
          <p:spPr>
            <a:xfrm>
              <a:off x="2539303" y="1569400"/>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42" name="bk object 42"/>
            <p:cNvSpPr/>
            <p:nvPr/>
          </p:nvSpPr>
          <p:spPr>
            <a:xfrm>
              <a:off x="1793154" y="1805279"/>
              <a:ext cx="57785" cy="57150"/>
            </a:xfrm>
            <a:custGeom>
              <a:avLst/>
              <a:gdLst/>
              <a:ahLst/>
              <a:cxnLst/>
              <a:rect l="l" t="t" r="r" b="b"/>
              <a:pathLst>
                <a:path w="57785" h="57150">
                  <a:moveTo>
                    <a:pt x="20840" y="0"/>
                  </a:moveTo>
                  <a:lnTo>
                    <a:pt x="9856" y="6212"/>
                  </a:lnTo>
                  <a:lnTo>
                    <a:pt x="2453" y="17609"/>
                  </a:lnTo>
                  <a:lnTo>
                    <a:pt x="0" y="33640"/>
                  </a:lnTo>
                  <a:lnTo>
                    <a:pt x="5646" y="45535"/>
                  </a:lnTo>
                  <a:lnTo>
                    <a:pt x="16523" y="53720"/>
                  </a:lnTo>
                  <a:lnTo>
                    <a:pt x="31631" y="56679"/>
                  </a:lnTo>
                  <a:lnTo>
                    <a:pt x="44708" y="51807"/>
                  </a:lnTo>
                  <a:lnTo>
                    <a:pt x="53857" y="41628"/>
                  </a:lnTo>
                  <a:lnTo>
                    <a:pt x="57302" y="27918"/>
                  </a:lnTo>
                  <a:lnTo>
                    <a:pt x="55880" y="19107"/>
                  </a:lnTo>
                  <a:lnTo>
                    <a:pt x="49256" y="8801"/>
                  </a:lnTo>
                  <a:lnTo>
                    <a:pt x="37483" y="2005"/>
                  </a:lnTo>
                  <a:lnTo>
                    <a:pt x="20840" y="0"/>
                  </a:lnTo>
                  <a:close/>
                </a:path>
              </a:pathLst>
            </a:custGeom>
            <a:solidFill>
              <a:srgbClr val="606060"/>
            </a:solidFill>
          </p:spPr>
          <p:txBody>
            <a:bodyPr wrap="square" lIns="0" tIns="0" rIns="0" bIns="0" rtlCol="0"/>
            <a:lstStyle/>
            <a:p>
              <a:endParaRPr sz="1350"/>
            </a:p>
          </p:txBody>
        </p:sp>
        <p:sp>
          <p:nvSpPr>
            <p:cNvPr id="43" name="bk object 43"/>
            <p:cNvSpPr/>
            <p:nvPr/>
          </p:nvSpPr>
          <p:spPr>
            <a:xfrm>
              <a:off x="2041866" y="18052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44" name="bk object 44"/>
            <p:cNvSpPr/>
            <p:nvPr/>
          </p:nvSpPr>
          <p:spPr>
            <a:xfrm>
              <a:off x="2290584" y="1805283"/>
              <a:ext cx="57785" cy="57150"/>
            </a:xfrm>
            <a:custGeom>
              <a:avLst/>
              <a:gdLst/>
              <a:ahLst/>
              <a:cxnLst/>
              <a:rect l="l" t="t" r="r" b="b"/>
              <a:pathLst>
                <a:path w="57785" h="57150">
                  <a:moveTo>
                    <a:pt x="20837" y="0"/>
                  </a:moveTo>
                  <a:lnTo>
                    <a:pt x="9855" y="6216"/>
                  </a:lnTo>
                  <a:lnTo>
                    <a:pt x="2452" y="17613"/>
                  </a:lnTo>
                  <a:lnTo>
                    <a:pt x="0" y="33645"/>
                  </a:lnTo>
                  <a:lnTo>
                    <a:pt x="5652" y="45536"/>
                  </a:lnTo>
                  <a:lnTo>
                    <a:pt x="16534" y="53718"/>
                  </a:lnTo>
                  <a:lnTo>
                    <a:pt x="31641" y="56675"/>
                  </a:lnTo>
                  <a:lnTo>
                    <a:pt x="44718" y="51804"/>
                  </a:lnTo>
                  <a:lnTo>
                    <a:pt x="53868" y="41624"/>
                  </a:lnTo>
                  <a:lnTo>
                    <a:pt x="57313" y="27914"/>
                  </a:lnTo>
                  <a:lnTo>
                    <a:pt x="55887" y="19093"/>
                  </a:lnTo>
                  <a:lnTo>
                    <a:pt x="49260" y="8792"/>
                  </a:lnTo>
                  <a:lnTo>
                    <a:pt x="37484" y="2001"/>
                  </a:lnTo>
                  <a:lnTo>
                    <a:pt x="20837" y="0"/>
                  </a:lnTo>
                  <a:close/>
                </a:path>
              </a:pathLst>
            </a:custGeom>
            <a:solidFill>
              <a:srgbClr val="606060"/>
            </a:solidFill>
          </p:spPr>
          <p:txBody>
            <a:bodyPr wrap="square" lIns="0" tIns="0" rIns="0" bIns="0" rtlCol="0"/>
            <a:lstStyle/>
            <a:p>
              <a:endParaRPr sz="1350"/>
            </a:p>
          </p:txBody>
        </p:sp>
        <p:sp>
          <p:nvSpPr>
            <p:cNvPr id="45" name="bk object 45"/>
            <p:cNvSpPr/>
            <p:nvPr/>
          </p:nvSpPr>
          <p:spPr>
            <a:xfrm>
              <a:off x="2539306" y="18052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46" name="bk object 46"/>
            <p:cNvSpPr/>
            <p:nvPr/>
          </p:nvSpPr>
          <p:spPr>
            <a:xfrm>
              <a:off x="1793154" y="2041149"/>
              <a:ext cx="57785" cy="57150"/>
            </a:xfrm>
            <a:custGeom>
              <a:avLst/>
              <a:gdLst/>
              <a:ahLst/>
              <a:cxnLst/>
              <a:rect l="l" t="t" r="r" b="b"/>
              <a:pathLst>
                <a:path w="57785" h="57150">
                  <a:moveTo>
                    <a:pt x="20835" y="0"/>
                  </a:moveTo>
                  <a:lnTo>
                    <a:pt x="9853" y="6218"/>
                  </a:lnTo>
                  <a:lnTo>
                    <a:pt x="2452" y="17618"/>
                  </a:lnTo>
                  <a:lnTo>
                    <a:pt x="0" y="33647"/>
                  </a:lnTo>
                  <a:lnTo>
                    <a:pt x="5646" y="45540"/>
                  </a:lnTo>
                  <a:lnTo>
                    <a:pt x="16523" y="53728"/>
                  </a:lnTo>
                  <a:lnTo>
                    <a:pt x="31631" y="56689"/>
                  </a:lnTo>
                  <a:lnTo>
                    <a:pt x="44708" y="51814"/>
                  </a:lnTo>
                  <a:lnTo>
                    <a:pt x="53857" y="41633"/>
                  </a:lnTo>
                  <a:lnTo>
                    <a:pt x="57302" y="27928"/>
                  </a:lnTo>
                  <a:lnTo>
                    <a:pt x="55876" y="19106"/>
                  </a:lnTo>
                  <a:lnTo>
                    <a:pt x="49250" y="8800"/>
                  </a:lnTo>
                  <a:lnTo>
                    <a:pt x="37476" y="2004"/>
                  </a:lnTo>
                  <a:lnTo>
                    <a:pt x="20835" y="0"/>
                  </a:lnTo>
                  <a:close/>
                </a:path>
              </a:pathLst>
            </a:custGeom>
            <a:solidFill>
              <a:srgbClr val="606060"/>
            </a:solidFill>
          </p:spPr>
          <p:txBody>
            <a:bodyPr wrap="square" lIns="0" tIns="0" rIns="0" bIns="0" rtlCol="0"/>
            <a:lstStyle/>
            <a:p>
              <a:endParaRPr sz="1350"/>
            </a:p>
          </p:txBody>
        </p:sp>
        <p:sp>
          <p:nvSpPr>
            <p:cNvPr id="47" name="bk object 47"/>
            <p:cNvSpPr/>
            <p:nvPr/>
          </p:nvSpPr>
          <p:spPr>
            <a:xfrm>
              <a:off x="2041866" y="2041152"/>
              <a:ext cx="57785" cy="57150"/>
            </a:xfrm>
            <a:custGeom>
              <a:avLst/>
              <a:gdLst/>
              <a:ahLst/>
              <a:cxnLst/>
              <a:rect l="l" t="t" r="r" b="b"/>
              <a:pathLst>
                <a:path w="57785"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48" name="bk object 48"/>
            <p:cNvSpPr/>
            <p:nvPr/>
          </p:nvSpPr>
          <p:spPr>
            <a:xfrm>
              <a:off x="2290584" y="2041152"/>
              <a:ext cx="57785" cy="57150"/>
            </a:xfrm>
            <a:custGeom>
              <a:avLst/>
              <a:gdLst/>
              <a:ahLst/>
              <a:cxnLst/>
              <a:rect l="l" t="t" r="r" b="b"/>
              <a:pathLst>
                <a:path w="57785" h="57150">
                  <a:moveTo>
                    <a:pt x="20831" y="0"/>
                  </a:moveTo>
                  <a:lnTo>
                    <a:pt x="9852" y="6221"/>
                  </a:lnTo>
                  <a:lnTo>
                    <a:pt x="2451" y="17622"/>
                  </a:lnTo>
                  <a:lnTo>
                    <a:pt x="0" y="33652"/>
                  </a:lnTo>
                  <a:lnTo>
                    <a:pt x="5652" y="45541"/>
                  </a:lnTo>
                  <a:lnTo>
                    <a:pt x="16534" y="53725"/>
                  </a:lnTo>
                  <a:lnTo>
                    <a:pt x="31641" y="56685"/>
                  </a:lnTo>
                  <a:lnTo>
                    <a:pt x="44718" y="51811"/>
                  </a:lnTo>
                  <a:lnTo>
                    <a:pt x="53868" y="41629"/>
                  </a:lnTo>
                  <a:lnTo>
                    <a:pt x="57313" y="27924"/>
                  </a:lnTo>
                  <a:lnTo>
                    <a:pt x="55883" y="19092"/>
                  </a:lnTo>
                  <a:lnTo>
                    <a:pt x="49254" y="8792"/>
                  </a:lnTo>
                  <a:lnTo>
                    <a:pt x="37477" y="2000"/>
                  </a:lnTo>
                  <a:lnTo>
                    <a:pt x="20831" y="0"/>
                  </a:lnTo>
                  <a:close/>
                </a:path>
              </a:pathLst>
            </a:custGeom>
            <a:solidFill>
              <a:srgbClr val="606060"/>
            </a:solidFill>
          </p:spPr>
          <p:txBody>
            <a:bodyPr wrap="square" lIns="0" tIns="0" rIns="0" bIns="0" rtlCol="0"/>
            <a:lstStyle/>
            <a:p>
              <a:endParaRPr sz="1350"/>
            </a:p>
          </p:txBody>
        </p:sp>
        <p:sp>
          <p:nvSpPr>
            <p:cNvPr id="49" name="bk object 49"/>
            <p:cNvSpPr/>
            <p:nvPr/>
          </p:nvSpPr>
          <p:spPr>
            <a:xfrm>
              <a:off x="2539306" y="2041152"/>
              <a:ext cx="57785" cy="57150"/>
            </a:xfrm>
            <a:custGeom>
              <a:avLst/>
              <a:gdLst/>
              <a:ahLst/>
              <a:cxnLst/>
              <a:rect l="l" t="t" r="r" b="b"/>
              <a:pathLst>
                <a:path w="57785"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50" name="bk object 50"/>
            <p:cNvSpPr/>
            <p:nvPr/>
          </p:nvSpPr>
          <p:spPr>
            <a:xfrm>
              <a:off x="1793151" y="2277024"/>
              <a:ext cx="57785" cy="57150"/>
            </a:xfrm>
            <a:custGeom>
              <a:avLst/>
              <a:gdLst/>
              <a:ahLst/>
              <a:cxnLst/>
              <a:rect l="l" t="t" r="r" b="b"/>
              <a:pathLst>
                <a:path w="57785"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51" name="bk object 51"/>
            <p:cNvSpPr/>
            <p:nvPr/>
          </p:nvSpPr>
          <p:spPr>
            <a:xfrm>
              <a:off x="2041863" y="2277027"/>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52" name="bk object 52"/>
            <p:cNvSpPr/>
            <p:nvPr/>
          </p:nvSpPr>
          <p:spPr>
            <a:xfrm>
              <a:off x="2290581" y="2277028"/>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53" name="bk object 53"/>
            <p:cNvSpPr/>
            <p:nvPr/>
          </p:nvSpPr>
          <p:spPr>
            <a:xfrm>
              <a:off x="2539303" y="2277027"/>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54" name="bk object 54"/>
            <p:cNvSpPr/>
            <p:nvPr/>
          </p:nvSpPr>
          <p:spPr>
            <a:xfrm>
              <a:off x="2539303" y="2487545"/>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55" name="bk object 55"/>
            <p:cNvSpPr/>
            <p:nvPr/>
          </p:nvSpPr>
          <p:spPr>
            <a:xfrm>
              <a:off x="2788019" y="2487546"/>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56" name="bk object 56"/>
            <p:cNvSpPr/>
            <p:nvPr/>
          </p:nvSpPr>
          <p:spPr>
            <a:xfrm>
              <a:off x="3036742" y="2487545"/>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57" name="bk object 57"/>
            <p:cNvSpPr/>
            <p:nvPr/>
          </p:nvSpPr>
          <p:spPr>
            <a:xfrm>
              <a:off x="3285465" y="2487545"/>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58" name="bk object 58"/>
            <p:cNvSpPr/>
            <p:nvPr/>
          </p:nvSpPr>
          <p:spPr>
            <a:xfrm>
              <a:off x="2539306" y="2723423"/>
              <a:ext cx="57785" cy="57150"/>
            </a:xfrm>
            <a:custGeom>
              <a:avLst/>
              <a:gdLst/>
              <a:ahLst/>
              <a:cxnLst/>
              <a:rect l="l" t="t" r="r" b="b"/>
              <a:pathLst>
                <a:path w="57785"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59" name="bk object 59"/>
            <p:cNvSpPr/>
            <p:nvPr/>
          </p:nvSpPr>
          <p:spPr>
            <a:xfrm>
              <a:off x="2788022" y="2723423"/>
              <a:ext cx="57785" cy="57150"/>
            </a:xfrm>
            <a:custGeom>
              <a:avLst/>
              <a:gdLst/>
              <a:ahLst/>
              <a:cxnLst/>
              <a:rect l="l" t="t" r="r" b="b"/>
              <a:pathLst>
                <a:path w="57785" h="57150">
                  <a:moveTo>
                    <a:pt x="20831" y="0"/>
                  </a:moveTo>
                  <a:lnTo>
                    <a:pt x="9852" y="6218"/>
                  </a:lnTo>
                  <a:lnTo>
                    <a:pt x="2451" y="17617"/>
                  </a:lnTo>
                  <a:lnTo>
                    <a:pt x="0" y="33653"/>
                  </a:lnTo>
                  <a:lnTo>
                    <a:pt x="5652" y="45542"/>
                  </a:lnTo>
                  <a:lnTo>
                    <a:pt x="16534" y="53726"/>
                  </a:lnTo>
                  <a:lnTo>
                    <a:pt x="31641" y="56686"/>
                  </a:lnTo>
                  <a:lnTo>
                    <a:pt x="44718" y="51811"/>
                  </a:lnTo>
                  <a:lnTo>
                    <a:pt x="53868" y="41630"/>
                  </a:lnTo>
                  <a:lnTo>
                    <a:pt x="57313" y="27925"/>
                  </a:lnTo>
                  <a:lnTo>
                    <a:pt x="55883" y="19088"/>
                  </a:lnTo>
                  <a:lnTo>
                    <a:pt x="49254" y="8788"/>
                  </a:lnTo>
                  <a:lnTo>
                    <a:pt x="37477" y="1999"/>
                  </a:lnTo>
                  <a:lnTo>
                    <a:pt x="20831" y="0"/>
                  </a:lnTo>
                  <a:close/>
                </a:path>
              </a:pathLst>
            </a:custGeom>
            <a:solidFill>
              <a:srgbClr val="606060"/>
            </a:solidFill>
          </p:spPr>
          <p:txBody>
            <a:bodyPr wrap="square" lIns="0" tIns="0" rIns="0" bIns="0" rtlCol="0"/>
            <a:lstStyle/>
            <a:p>
              <a:endParaRPr sz="1350"/>
            </a:p>
          </p:txBody>
        </p:sp>
        <p:sp>
          <p:nvSpPr>
            <p:cNvPr id="60" name="bk object 60"/>
            <p:cNvSpPr/>
            <p:nvPr/>
          </p:nvSpPr>
          <p:spPr>
            <a:xfrm>
              <a:off x="3036745" y="2723423"/>
              <a:ext cx="57785" cy="57150"/>
            </a:xfrm>
            <a:custGeom>
              <a:avLst/>
              <a:gdLst/>
              <a:ahLst/>
              <a:cxnLst/>
              <a:rect l="l" t="t" r="r" b="b"/>
              <a:pathLst>
                <a:path w="57785"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61" name="bk object 61"/>
            <p:cNvSpPr/>
            <p:nvPr/>
          </p:nvSpPr>
          <p:spPr>
            <a:xfrm>
              <a:off x="3285468" y="2723423"/>
              <a:ext cx="57785" cy="57150"/>
            </a:xfrm>
            <a:custGeom>
              <a:avLst/>
              <a:gdLst/>
              <a:ahLst/>
              <a:cxnLst/>
              <a:rect l="l" t="t" r="r" b="b"/>
              <a:pathLst>
                <a:path w="57785"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62" name="bk object 62"/>
            <p:cNvSpPr/>
            <p:nvPr/>
          </p:nvSpPr>
          <p:spPr>
            <a:xfrm>
              <a:off x="2539303" y="2959293"/>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63" name="bk object 63"/>
            <p:cNvSpPr/>
            <p:nvPr/>
          </p:nvSpPr>
          <p:spPr>
            <a:xfrm>
              <a:off x="2788019" y="2959293"/>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64" name="bk object 64"/>
            <p:cNvSpPr/>
            <p:nvPr/>
          </p:nvSpPr>
          <p:spPr>
            <a:xfrm>
              <a:off x="3036742" y="2959293"/>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65" name="bk object 65"/>
            <p:cNvSpPr/>
            <p:nvPr/>
          </p:nvSpPr>
          <p:spPr>
            <a:xfrm>
              <a:off x="3285465" y="2959293"/>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66" name="bk object 66"/>
            <p:cNvSpPr/>
            <p:nvPr/>
          </p:nvSpPr>
          <p:spPr>
            <a:xfrm>
              <a:off x="2539306" y="31951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67" name="bk object 67"/>
            <p:cNvSpPr/>
            <p:nvPr/>
          </p:nvSpPr>
          <p:spPr>
            <a:xfrm>
              <a:off x="2788022" y="3195182"/>
              <a:ext cx="57785" cy="57150"/>
            </a:xfrm>
            <a:custGeom>
              <a:avLst/>
              <a:gdLst/>
              <a:ahLst/>
              <a:cxnLst/>
              <a:rect l="l" t="t" r="r" b="b"/>
              <a:pathLst>
                <a:path w="57785" h="57150">
                  <a:moveTo>
                    <a:pt x="20837" y="0"/>
                  </a:moveTo>
                  <a:lnTo>
                    <a:pt x="9855" y="6216"/>
                  </a:lnTo>
                  <a:lnTo>
                    <a:pt x="2452" y="17613"/>
                  </a:lnTo>
                  <a:lnTo>
                    <a:pt x="0" y="33645"/>
                  </a:lnTo>
                  <a:lnTo>
                    <a:pt x="5652" y="45536"/>
                  </a:lnTo>
                  <a:lnTo>
                    <a:pt x="16534" y="53718"/>
                  </a:lnTo>
                  <a:lnTo>
                    <a:pt x="31641" y="56675"/>
                  </a:lnTo>
                  <a:lnTo>
                    <a:pt x="44718" y="51804"/>
                  </a:lnTo>
                  <a:lnTo>
                    <a:pt x="53868" y="41624"/>
                  </a:lnTo>
                  <a:lnTo>
                    <a:pt x="57313" y="27914"/>
                  </a:lnTo>
                  <a:lnTo>
                    <a:pt x="55887" y="19093"/>
                  </a:lnTo>
                  <a:lnTo>
                    <a:pt x="49260" y="8792"/>
                  </a:lnTo>
                  <a:lnTo>
                    <a:pt x="37484" y="2001"/>
                  </a:lnTo>
                  <a:lnTo>
                    <a:pt x="20837" y="0"/>
                  </a:lnTo>
                  <a:close/>
                </a:path>
              </a:pathLst>
            </a:custGeom>
            <a:solidFill>
              <a:srgbClr val="606060"/>
            </a:solidFill>
          </p:spPr>
          <p:txBody>
            <a:bodyPr wrap="square" lIns="0" tIns="0" rIns="0" bIns="0" rtlCol="0"/>
            <a:lstStyle/>
            <a:p>
              <a:endParaRPr sz="1350"/>
            </a:p>
          </p:txBody>
        </p:sp>
        <p:sp>
          <p:nvSpPr>
            <p:cNvPr id="68" name="bk object 68"/>
            <p:cNvSpPr/>
            <p:nvPr/>
          </p:nvSpPr>
          <p:spPr>
            <a:xfrm>
              <a:off x="3036745" y="31951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69" name="bk object 69"/>
            <p:cNvSpPr/>
            <p:nvPr/>
          </p:nvSpPr>
          <p:spPr>
            <a:xfrm>
              <a:off x="3285468" y="31951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70" name="bk object 70"/>
            <p:cNvSpPr/>
            <p:nvPr/>
          </p:nvSpPr>
          <p:spPr>
            <a:xfrm>
              <a:off x="2539303" y="1569400"/>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71" name="bk object 71"/>
            <p:cNvSpPr/>
            <p:nvPr/>
          </p:nvSpPr>
          <p:spPr>
            <a:xfrm>
              <a:off x="2788019" y="1569400"/>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72" name="bk object 72"/>
            <p:cNvSpPr/>
            <p:nvPr/>
          </p:nvSpPr>
          <p:spPr>
            <a:xfrm>
              <a:off x="3036742" y="1569400"/>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73" name="bk object 73"/>
            <p:cNvSpPr/>
            <p:nvPr/>
          </p:nvSpPr>
          <p:spPr>
            <a:xfrm>
              <a:off x="3285465" y="1569400"/>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74" name="bk object 74"/>
            <p:cNvSpPr/>
            <p:nvPr/>
          </p:nvSpPr>
          <p:spPr>
            <a:xfrm>
              <a:off x="2539306" y="18052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75" name="bk object 75"/>
            <p:cNvSpPr/>
            <p:nvPr/>
          </p:nvSpPr>
          <p:spPr>
            <a:xfrm>
              <a:off x="2788022" y="1805283"/>
              <a:ext cx="57785" cy="57150"/>
            </a:xfrm>
            <a:custGeom>
              <a:avLst/>
              <a:gdLst/>
              <a:ahLst/>
              <a:cxnLst/>
              <a:rect l="l" t="t" r="r" b="b"/>
              <a:pathLst>
                <a:path w="57785" h="57150">
                  <a:moveTo>
                    <a:pt x="20837" y="0"/>
                  </a:moveTo>
                  <a:lnTo>
                    <a:pt x="9855" y="6216"/>
                  </a:lnTo>
                  <a:lnTo>
                    <a:pt x="2452" y="17613"/>
                  </a:lnTo>
                  <a:lnTo>
                    <a:pt x="0" y="33645"/>
                  </a:lnTo>
                  <a:lnTo>
                    <a:pt x="5652" y="45536"/>
                  </a:lnTo>
                  <a:lnTo>
                    <a:pt x="16534" y="53718"/>
                  </a:lnTo>
                  <a:lnTo>
                    <a:pt x="31641" y="56675"/>
                  </a:lnTo>
                  <a:lnTo>
                    <a:pt x="44718" y="51804"/>
                  </a:lnTo>
                  <a:lnTo>
                    <a:pt x="53868" y="41624"/>
                  </a:lnTo>
                  <a:lnTo>
                    <a:pt x="57313" y="27914"/>
                  </a:lnTo>
                  <a:lnTo>
                    <a:pt x="55887" y="19093"/>
                  </a:lnTo>
                  <a:lnTo>
                    <a:pt x="49260" y="8792"/>
                  </a:lnTo>
                  <a:lnTo>
                    <a:pt x="37484" y="2001"/>
                  </a:lnTo>
                  <a:lnTo>
                    <a:pt x="20837" y="0"/>
                  </a:lnTo>
                  <a:close/>
                </a:path>
              </a:pathLst>
            </a:custGeom>
            <a:solidFill>
              <a:srgbClr val="606060"/>
            </a:solidFill>
          </p:spPr>
          <p:txBody>
            <a:bodyPr wrap="square" lIns="0" tIns="0" rIns="0" bIns="0" rtlCol="0"/>
            <a:lstStyle/>
            <a:p>
              <a:endParaRPr sz="1350"/>
            </a:p>
          </p:txBody>
        </p:sp>
        <p:sp>
          <p:nvSpPr>
            <p:cNvPr id="76" name="bk object 76"/>
            <p:cNvSpPr/>
            <p:nvPr/>
          </p:nvSpPr>
          <p:spPr>
            <a:xfrm>
              <a:off x="3036745" y="18052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77" name="bk object 77"/>
            <p:cNvSpPr/>
            <p:nvPr/>
          </p:nvSpPr>
          <p:spPr>
            <a:xfrm>
              <a:off x="3285468" y="1805282"/>
              <a:ext cx="57785" cy="57150"/>
            </a:xfrm>
            <a:custGeom>
              <a:avLst/>
              <a:gdLst/>
              <a:ahLst/>
              <a:cxnLst/>
              <a:rect l="l" t="t" r="r" b="b"/>
              <a:pathLst>
                <a:path w="57785" h="57150">
                  <a:moveTo>
                    <a:pt x="20835" y="0"/>
                  </a:moveTo>
                  <a:lnTo>
                    <a:pt x="9851" y="6215"/>
                  </a:lnTo>
                  <a:lnTo>
                    <a:pt x="2451" y="17613"/>
                  </a:lnTo>
                  <a:lnTo>
                    <a:pt x="0" y="33644"/>
                  </a:lnTo>
                  <a:lnTo>
                    <a:pt x="5648" y="45535"/>
                  </a:lnTo>
                  <a:lnTo>
                    <a:pt x="16528" y="53718"/>
                  </a:lnTo>
                  <a:lnTo>
                    <a:pt x="31640" y="56675"/>
                  </a:lnTo>
                  <a:lnTo>
                    <a:pt x="44713" y="51804"/>
                  </a:lnTo>
                  <a:lnTo>
                    <a:pt x="53866" y="41625"/>
                  </a:lnTo>
                  <a:lnTo>
                    <a:pt x="57313" y="27915"/>
                  </a:lnTo>
                  <a:lnTo>
                    <a:pt x="55886" y="19092"/>
                  </a:lnTo>
                  <a:lnTo>
                    <a:pt x="49255" y="8792"/>
                  </a:lnTo>
                  <a:lnTo>
                    <a:pt x="37477" y="2001"/>
                  </a:lnTo>
                  <a:lnTo>
                    <a:pt x="20835" y="0"/>
                  </a:lnTo>
                  <a:close/>
                </a:path>
              </a:pathLst>
            </a:custGeom>
            <a:solidFill>
              <a:srgbClr val="606060"/>
            </a:solidFill>
          </p:spPr>
          <p:txBody>
            <a:bodyPr wrap="square" lIns="0" tIns="0" rIns="0" bIns="0" rtlCol="0"/>
            <a:lstStyle/>
            <a:p>
              <a:endParaRPr sz="1350"/>
            </a:p>
          </p:txBody>
        </p:sp>
        <p:sp>
          <p:nvSpPr>
            <p:cNvPr id="78" name="bk object 78"/>
            <p:cNvSpPr/>
            <p:nvPr/>
          </p:nvSpPr>
          <p:spPr>
            <a:xfrm>
              <a:off x="2539306" y="2041152"/>
              <a:ext cx="57785" cy="57150"/>
            </a:xfrm>
            <a:custGeom>
              <a:avLst/>
              <a:gdLst/>
              <a:ahLst/>
              <a:cxnLst/>
              <a:rect l="l" t="t" r="r" b="b"/>
              <a:pathLst>
                <a:path w="57785"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79" name="bk object 79"/>
            <p:cNvSpPr/>
            <p:nvPr/>
          </p:nvSpPr>
          <p:spPr>
            <a:xfrm>
              <a:off x="2788022" y="2041152"/>
              <a:ext cx="57785" cy="57150"/>
            </a:xfrm>
            <a:custGeom>
              <a:avLst/>
              <a:gdLst/>
              <a:ahLst/>
              <a:cxnLst/>
              <a:rect l="l" t="t" r="r" b="b"/>
              <a:pathLst>
                <a:path w="57785" h="57150">
                  <a:moveTo>
                    <a:pt x="20831" y="0"/>
                  </a:moveTo>
                  <a:lnTo>
                    <a:pt x="9852" y="6221"/>
                  </a:lnTo>
                  <a:lnTo>
                    <a:pt x="2451" y="17622"/>
                  </a:lnTo>
                  <a:lnTo>
                    <a:pt x="0" y="33652"/>
                  </a:lnTo>
                  <a:lnTo>
                    <a:pt x="5652" y="45541"/>
                  </a:lnTo>
                  <a:lnTo>
                    <a:pt x="16534" y="53725"/>
                  </a:lnTo>
                  <a:lnTo>
                    <a:pt x="31641" y="56685"/>
                  </a:lnTo>
                  <a:lnTo>
                    <a:pt x="44718" y="51811"/>
                  </a:lnTo>
                  <a:lnTo>
                    <a:pt x="53868" y="41629"/>
                  </a:lnTo>
                  <a:lnTo>
                    <a:pt x="57313" y="27924"/>
                  </a:lnTo>
                  <a:lnTo>
                    <a:pt x="55883" y="19092"/>
                  </a:lnTo>
                  <a:lnTo>
                    <a:pt x="49254" y="8792"/>
                  </a:lnTo>
                  <a:lnTo>
                    <a:pt x="37477" y="2000"/>
                  </a:lnTo>
                  <a:lnTo>
                    <a:pt x="20831" y="0"/>
                  </a:lnTo>
                  <a:close/>
                </a:path>
              </a:pathLst>
            </a:custGeom>
            <a:solidFill>
              <a:srgbClr val="606060"/>
            </a:solidFill>
          </p:spPr>
          <p:txBody>
            <a:bodyPr wrap="square" lIns="0" tIns="0" rIns="0" bIns="0" rtlCol="0"/>
            <a:lstStyle/>
            <a:p>
              <a:endParaRPr sz="1350"/>
            </a:p>
          </p:txBody>
        </p:sp>
        <p:sp>
          <p:nvSpPr>
            <p:cNvPr id="80" name="bk object 80"/>
            <p:cNvSpPr/>
            <p:nvPr/>
          </p:nvSpPr>
          <p:spPr>
            <a:xfrm>
              <a:off x="3036745" y="2041152"/>
              <a:ext cx="57785" cy="57150"/>
            </a:xfrm>
            <a:custGeom>
              <a:avLst/>
              <a:gdLst/>
              <a:ahLst/>
              <a:cxnLst/>
              <a:rect l="l" t="t" r="r" b="b"/>
              <a:pathLst>
                <a:path w="57785"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81" name="bk object 81"/>
            <p:cNvSpPr/>
            <p:nvPr/>
          </p:nvSpPr>
          <p:spPr>
            <a:xfrm>
              <a:off x="3285468" y="2041152"/>
              <a:ext cx="57785" cy="57150"/>
            </a:xfrm>
            <a:custGeom>
              <a:avLst/>
              <a:gdLst/>
              <a:ahLst/>
              <a:cxnLst/>
              <a:rect l="l" t="t" r="r" b="b"/>
              <a:pathLst>
                <a:path w="57785"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82" name="bk object 82"/>
            <p:cNvSpPr/>
            <p:nvPr/>
          </p:nvSpPr>
          <p:spPr>
            <a:xfrm>
              <a:off x="2539303" y="2277027"/>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83" name="bk object 83"/>
            <p:cNvSpPr/>
            <p:nvPr/>
          </p:nvSpPr>
          <p:spPr>
            <a:xfrm>
              <a:off x="2788019" y="2277028"/>
              <a:ext cx="57785" cy="57150"/>
            </a:xfrm>
            <a:custGeom>
              <a:avLst/>
              <a:gdLst/>
              <a:ahLst/>
              <a:cxnLst/>
              <a:rect l="l" t="t" r="r" b="b"/>
              <a:pathLst>
                <a:path w="57785" h="57150">
                  <a:moveTo>
                    <a:pt x="20845" y="0"/>
                  </a:moveTo>
                  <a:lnTo>
                    <a:pt x="9860" y="6214"/>
                  </a:lnTo>
                  <a:lnTo>
                    <a:pt x="2455" y="17611"/>
                  </a:lnTo>
                  <a:lnTo>
                    <a:pt x="0" y="33640"/>
                  </a:lnTo>
                  <a:lnTo>
                    <a:pt x="5648" y="45532"/>
                  </a:lnTo>
                  <a:lnTo>
                    <a:pt x="16528" y="53718"/>
                  </a:lnTo>
                  <a:lnTo>
                    <a:pt x="31635" y="56677"/>
                  </a:lnTo>
                  <a:lnTo>
                    <a:pt x="44716" y="51809"/>
                  </a:lnTo>
                  <a:lnTo>
                    <a:pt x="53869" y="41633"/>
                  </a:lnTo>
                  <a:lnTo>
                    <a:pt x="57316" y="27928"/>
                  </a:lnTo>
                  <a:lnTo>
                    <a:pt x="55889" y="19100"/>
                  </a:lnTo>
                  <a:lnTo>
                    <a:pt x="49263" y="8795"/>
                  </a:lnTo>
                  <a:lnTo>
                    <a:pt x="37488" y="2002"/>
                  </a:lnTo>
                  <a:lnTo>
                    <a:pt x="20845" y="0"/>
                  </a:lnTo>
                  <a:close/>
                </a:path>
              </a:pathLst>
            </a:custGeom>
            <a:solidFill>
              <a:srgbClr val="606060"/>
            </a:solidFill>
          </p:spPr>
          <p:txBody>
            <a:bodyPr wrap="square" lIns="0" tIns="0" rIns="0" bIns="0" rtlCol="0"/>
            <a:lstStyle/>
            <a:p>
              <a:endParaRPr sz="1350"/>
            </a:p>
          </p:txBody>
        </p:sp>
        <p:sp>
          <p:nvSpPr>
            <p:cNvPr id="84" name="bk object 84"/>
            <p:cNvSpPr/>
            <p:nvPr/>
          </p:nvSpPr>
          <p:spPr>
            <a:xfrm>
              <a:off x="3036742" y="2277027"/>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85" name="bk object 85"/>
            <p:cNvSpPr/>
            <p:nvPr/>
          </p:nvSpPr>
          <p:spPr>
            <a:xfrm>
              <a:off x="3285465" y="2277027"/>
              <a:ext cx="57785" cy="57150"/>
            </a:xfrm>
            <a:custGeom>
              <a:avLst/>
              <a:gdLst/>
              <a:ahLst/>
              <a:cxnLst/>
              <a:rect l="l" t="t" r="r" b="b"/>
              <a:pathLst>
                <a:path w="57785"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grpSp>
      <p:grpSp>
        <p:nvGrpSpPr>
          <p:cNvPr id="6" name="Grupo 5">
            <a:extLst>
              <a:ext uri="{FF2B5EF4-FFF2-40B4-BE49-F238E27FC236}">
                <a16:creationId xmlns:a16="http://schemas.microsoft.com/office/drawing/2014/main" id="{4377507F-F666-5FB4-3185-FBC6CC337ECA}"/>
              </a:ext>
            </a:extLst>
          </p:cNvPr>
          <p:cNvGrpSpPr/>
          <p:nvPr userDrawn="1"/>
        </p:nvGrpSpPr>
        <p:grpSpPr>
          <a:xfrm>
            <a:off x="10170898" y="4836226"/>
            <a:ext cx="1162576" cy="1262195"/>
            <a:chOff x="13561197" y="6448302"/>
            <a:chExt cx="1550101" cy="1682926"/>
          </a:xfrm>
        </p:grpSpPr>
        <p:sp>
          <p:nvSpPr>
            <p:cNvPr id="86" name="bk object 86"/>
            <p:cNvSpPr/>
            <p:nvPr/>
          </p:nvSpPr>
          <p:spPr>
            <a:xfrm>
              <a:off x="13561197" y="7366444"/>
              <a:ext cx="57785" cy="57150"/>
            </a:xfrm>
            <a:custGeom>
              <a:avLst/>
              <a:gdLst/>
              <a:ahLst/>
              <a:cxnLst/>
              <a:rect l="l" t="t" r="r" b="b"/>
              <a:pathLst>
                <a:path w="57784"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87" name="bk object 87"/>
            <p:cNvSpPr/>
            <p:nvPr/>
          </p:nvSpPr>
          <p:spPr>
            <a:xfrm>
              <a:off x="13809908" y="7366447"/>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88" name="bk object 88"/>
            <p:cNvSpPr/>
            <p:nvPr/>
          </p:nvSpPr>
          <p:spPr>
            <a:xfrm>
              <a:off x="14058630" y="7366447"/>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89" name="bk object 89"/>
            <p:cNvSpPr/>
            <p:nvPr/>
          </p:nvSpPr>
          <p:spPr>
            <a:xfrm>
              <a:off x="14307346" y="7366448"/>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90" name="bk object 90"/>
            <p:cNvSpPr/>
            <p:nvPr/>
          </p:nvSpPr>
          <p:spPr>
            <a:xfrm>
              <a:off x="13561200" y="7602322"/>
              <a:ext cx="57785" cy="57150"/>
            </a:xfrm>
            <a:custGeom>
              <a:avLst/>
              <a:gdLst/>
              <a:ahLst/>
              <a:cxnLst/>
              <a:rect l="l" t="t" r="r" b="b"/>
              <a:pathLst>
                <a:path w="57784" h="57150">
                  <a:moveTo>
                    <a:pt x="20833" y="0"/>
                  </a:moveTo>
                  <a:lnTo>
                    <a:pt x="9852" y="6215"/>
                  </a:lnTo>
                  <a:lnTo>
                    <a:pt x="2452" y="17614"/>
                  </a:lnTo>
                  <a:lnTo>
                    <a:pt x="0" y="33651"/>
                  </a:lnTo>
                  <a:lnTo>
                    <a:pt x="5646" y="45546"/>
                  </a:lnTo>
                  <a:lnTo>
                    <a:pt x="16523" y="53731"/>
                  </a:lnTo>
                  <a:lnTo>
                    <a:pt x="31631" y="56689"/>
                  </a:lnTo>
                  <a:lnTo>
                    <a:pt x="44708" y="51818"/>
                  </a:lnTo>
                  <a:lnTo>
                    <a:pt x="53857" y="41639"/>
                  </a:lnTo>
                  <a:lnTo>
                    <a:pt x="57302" y="27928"/>
                  </a:lnTo>
                  <a:lnTo>
                    <a:pt x="55876" y="19100"/>
                  </a:lnTo>
                  <a:lnTo>
                    <a:pt x="49249" y="8795"/>
                  </a:lnTo>
                  <a:lnTo>
                    <a:pt x="37475" y="2002"/>
                  </a:lnTo>
                  <a:lnTo>
                    <a:pt x="20833" y="0"/>
                  </a:lnTo>
                  <a:close/>
                </a:path>
              </a:pathLst>
            </a:custGeom>
            <a:solidFill>
              <a:srgbClr val="606060"/>
            </a:solidFill>
          </p:spPr>
          <p:txBody>
            <a:bodyPr wrap="square" lIns="0" tIns="0" rIns="0" bIns="0" rtlCol="0"/>
            <a:lstStyle/>
            <a:p>
              <a:endParaRPr sz="1350"/>
            </a:p>
          </p:txBody>
        </p:sp>
        <p:sp>
          <p:nvSpPr>
            <p:cNvPr id="91" name="bk object 91"/>
            <p:cNvSpPr/>
            <p:nvPr/>
          </p:nvSpPr>
          <p:spPr>
            <a:xfrm>
              <a:off x="13809912" y="7602325"/>
              <a:ext cx="57785" cy="57150"/>
            </a:xfrm>
            <a:custGeom>
              <a:avLst/>
              <a:gdLst/>
              <a:ahLst/>
              <a:cxnLst/>
              <a:rect l="l" t="t" r="r" b="b"/>
              <a:pathLst>
                <a:path w="57784" h="57150">
                  <a:moveTo>
                    <a:pt x="20830" y="0"/>
                  </a:moveTo>
                  <a:lnTo>
                    <a:pt x="9852" y="6218"/>
                  </a:lnTo>
                  <a:lnTo>
                    <a:pt x="2451" y="17618"/>
                  </a:lnTo>
                  <a:lnTo>
                    <a:pt x="0" y="33654"/>
                  </a:lnTo>
                  <a:lnTo>
                    <a:pt x="5652" y="45546"/>
                  </a:lnTo>
                  <a:lnTo>
                    <a:pt x="16533" y="53728"/>
                  </a:lnTo>
                  <a:lnTo>
                    <a:pt x="31639" y="56686"/>
                  </a:lnTo>
                  <a:lnTo>
                    <a:pt x="44713" y="51815"/>
                  </a:lnTo>
                  <a:lnTo>
                    <a:pt x="53865" y="41635"/>
                  </a:lnTo>
                  <a:lnTo>
                    <a:pt x="57313" y="27925"/>
                  </a:lnTo>
                  <a:lnTo>
                    <a:pt x="55882" y="19087"/>
                  </a:lnTo>
                  <a:lnTo>
                    <a:pt x="49250" y="8787"/>
                  </a:lnTo>
                  <a:lnTo>
                    <a:pt x="37472" y="1999"/>
                  </a:lnTo>
                  <a:lnTo>
                    <a:pt x="20830" y="0"/>
                  </a:lnTo>
                  <a:close/>
                </a:path>
              </a:pathLst>
            </a:custGeom>
            <a:solidFill>
              <a:srgbClr val="606060"/>
            </a:solidFill>
          </p:spPr>
          <p:txBody>
            <a:bodyPr wrap="square" lIns="0" tIns="0" rIns="0" bIns="0" rtlCol="0"/>
            <a:lstStyle/>
            <a:p>
              <a:endParaRPr sz="1350"/>
            </a:p>
          </p:txBody>
        </p:sp>
        <p:sp>
          <p:nvSpPr>
            <p:cNvPr id="92" name="bk object 92"/>
            <p:cNvSpPr/>
            <p:nvPr/>
          </p:nvSpPr>
          <p:spPr>
            <a:xfrm>
              <a:off x="14058633" y="7602325"/>
              <a:ext cx="57785" cy="57150"/>
            </a:xfrm>
            <a:custGeom>
              <a:avLst/>
              <a:gdLst/>
              <a:ahLst/>
              <a:cxnLst/>
              <a:rect l="l" t="t" r="r" b="b"/>
              <a:pathLst>
                <a:path w="57784" h="57150">
                  <a:moveTo>
                    <a:pt x="20827" y="0"/>
                  </a:moveTo>
                  <a:lnTo>
                    <a:pt x="9847" y="6218"/>
                  </a:lnTo>
                  <a:lnTo>
                    <a:pt x="2449" y="17618"/>
                  </a:lnTo>
                  <a:lnTo>
                    <a:pt x="0" y="33654"/>
                  </a:lnTo>
                  <a:lnTo>
                    <a:pt x="5648" y="45546"/>
                  </a:lnTo>
                  <a:lnTo>
                    <a:pt x="16528" y="53728"/>
                  </a:lnTo>
                  <a:lnTo>
                    <a:pt x="31640" y="56686"/>
                  </a:lnTo>
                  <a:lnTo>
                    <a:pt x="44713" y="51815"/>
                  </a:lnTo>
                  <a:lnTo>
                    <a:pt x="53866" y="41635"/>
                  </a:lnTo>
                  <a:lnTo>
                    <a:pt x="57313" y="27925"/>
                  </a:lnTo>
                  <a:lnTo>
                    <a:pt x="55882" y="19085"/>
                  </a:lnTo>
                  <a:lnTo>
                    <a:pt x="49249" y="8786"/>
                  </a:lnTo>
                  <a:lnTo>
                    <a:pt x="37470" y="1998"/>
                  </a:lnTo>
                  <a:lnTo>
                    <a:pt x="20827" y="0"/>
                  </a:lnTo>
                  <a:close/>
                </a:path>
              </a:pathLst>
            </a:custGeom>
            <a:solidFill>
              <a:srgbClr val="606060"/>
            </a:solidFill>
          </p:spPr>
          <p:txBody>
            <a:bodyPr wrap="square" lIns="0" tIns="0" rIns="0" bIns="0" rtlCol="0"/>
            <a:lstStyle/>
            <a:p>
              <a:endParaRPr sz="1350"/>
            </a:p>
          </p:txBody>
        </p:sp>
        <p:sp>
          <p:nvSpPr>
            <p:cNvPr id="93" name="bk object 93"/>
            <p:cNvSpPr/>
            <p:nvPr/>
          </p:nvSpPr>
          <p:spPr>
            <a:xfrm>
              <a:off x="14307349" y="7602325"/>
              <a:ext cx="57785" cy="57150"/>
            </a:xfrm>
            <a:custGeom>
              <a:avLst/>
              <a:gdLst/>
              <a:ahLst/>
              <a:cxnLst/>
              <a:rect l="l" t="t" r="r" b="b"/>
              <a:pathLst>
                <a:path w="57784" h="57150">
                  <a:moveTo>
                    <a:pt x="20825" y="0"/>
                  </a:moveTo>
                  <a:lnTo>
                    <a:pt x="9846" y="6218"/>
                  </a:lnTo>
                  <a:lnTo>
                    <a:pt x="2449" y="17619"/>
                  </a:lnTo>
                  <a:lnTo>
                    <a:pt x="0" y="33656"/>
                  </a:lnTo>
                  <a:lnTo>
                    <a:pt x="5649" y="45546"/>
                  </a:lnTo>
                  <a:lnTo>
                    <a:pt x="16529" y="53728"/>
                  </a:lnTo>
                  <a:lnTo>
                    <a:pt x="31642" y="56685"/>
                  </a:lnTo>
                  <a:lnTo>
                    <a:pt x="44719" y="51814"/>
                  </a:lnTo>
                  <a:lnTo>
                    <a:pt x="53868" y="41635"/>
                  </a:lnTo>
                  <a:lnTo>
                    <a:pt x="57313" y="27925"/>
                  </a:lnTo>
                  <a:lnTo>
                    <a:pt x="55882" y="19084"/>
                  </a:lnTo>
                  <a:lnTo>
                    <a:pt x="49252" y="8785"/>
                  </a:lnTo>
                  <a:lnTo>
                    <a:pt x="37474" y="1998"/>
                  </a:lnTo>
                  <a:lnTo>
                    <a:pt x="20825" y="0"/>
                  </a:lnTo>
                  <a:close/>
                </a:path>
              </a:pathLst>
            </a:custGeom>
            <a:solidFill>
              <a:srgbClr val="606060"/>
            </a:solidFill>
          </p:spPr>
          <p:txBody>
            <a:bodyPr wrap="square" lIns="0" tIns="0" rIns="0" bIns="0" rtlCol="0"/>
            <a:lstStyle/>
            <a:p>
              <a:endParaRPr sz="1350"/>
            </a:p>
          </p:txBody>
        </p:sp>
        <p:sp>
          <p:nvSpPr>
            <p:cNvPr id="94" name="bk object 94"/>
            <p:cNvSpPr/>
            <p:nvPr/>
          </p:nvSpPr>
          <p:spPr>
            <a:xfrm>
              <a:off x="13561200" y="7838195"/>
              <a:ext cx="57785" cy="57150"/>
            </a:xfrm>
            <a:custGeom>
              <a:avLst/>
              <a:gdLst/>
              <a:ahLst/>
              <a:cxnLst/>
              <a:rect l="l" t="t" r="r" b="b"/>
              <a:pathLst>
                <a:path w="57784" h="57150">
                  <a:moveTo>
                    <a:pt x="20835" y="0"/>
                  </a:moveTo>
                  <a:lnTo>
                    <a:pt x="9853" y="6218"/>
                  </a:lnTo>
                  <a:lnTo>
                    <a:pt x="2452" y="17618"/>
                  </a:lnTo>
                  <a:lnTo>
                    <a:pt x="0" y="33647"/>
                  </a:lnTo>
                  <a:lnTo>
                    <a:pt x="5646" y="45540"/>
                  </a:lnTo>
                  <a:lnTo>
                    <a:pt x="16523" y="53728"/>
                  </a:lnTo>
                  <a:lnTo>
                    <a:pt x="31631" y="56689"/>
                  </a:lnTo>
                  <a:lnTo>
                    <a:pt x="44708" y="51814"/>
                  </a:lnTo>
                  <a:lnTo>
                    <a:pt x="53857" y="41633"/>
                  </a:lnTo>
                  <a:lnTo>
                    <a:pt x="57302" y="27928"/>
                  </a:lnTo>
                  <a:lnTo>
                    <a:pt x="55876" y="19106"/>
                  </a:lnTo>
                  <a:lnTo>
                    <a:pt x="49250" y="8800"/>
                  </a:lnTo>
                  <a:lnTo>
                    <a:pt x="37476" y="2004"/>
                  </a:lnTo>
                  <a:lnTo>
                    <a:pt x="20835" y="0"/>
                  </a:lnTo>
                  <a:close/>
                </a:path>
              </a:pathLst>
            </a:custGeom>
            <a:solidFill>
              <a:srgbClr val="606060"/>
            </a:solidFill>
          </p:spPr>
          <p:txBody>
            <a:bodyPr wrap="square" lIns="0" tIns="0" rIns="0" bIns="0" rtlCol="0"/>
            <a:lstStyle/>
            <a:p>
              <a:endParaRPr sz="1350"/>
            </a:p>
          </p:txBody>
        </p:sp>
        <p:sp>
          <p:nvSpPr>
            <p:cNvPr id="95" name="bk object 95"/>
            <p:cNvSpPr/>
            <p:nvPr/>
          </p:nvSpPr>
          <p:spPr>
            <a:xfrm>
              <a:off x="13809912" y="7838199"/>
              <a:ext cx="57785" cy="57150"/>
            </a:xfrm>
            <a:custGeom>
              <a:avLst/>
              <a:gdLst/>
              <a:ahLst/>
              <a:cxnLst/>
              <a:rect l="l" t="t" r="r" b="b"/>
              <a:pathLst>
                <a:path w="57784" h="57150">
                  <a:moveTo>
                    <a:pt x="20832" y="0"/>
                  </a:moveTo>
                  <a:lnTo>
                    <a:pt x="9853" y="6221"/>
                  </a:lnTo>
                  <a:lnTo>
                    <a:pt x="2452" y="17621"/>
                  </a:lnTo>
                  <a:lnTo>
                    <a:pt x="0" y="33651"/>
                  </a:lnTo>
                  <a:lnTo>
                    <a:pt x="5652" y="45540"/>
                  </a:lnTo>
                  <a:lnTo>
                    <a:pt x="16533" y="53726"/>
                  </a:lnTo>
                  <a:lnTo>
                    <a:pt x="31639" y="56685"/>
                  </a:lnTo>
                  <a:lnTo>
                    <a:pt x="44713" y="51811"/>
                  </a:lnTo>
                  <a:lnTo>
                    <a:pt x="53865" y="41629"/>
                  </a:lnTo>
                  <a:lnTo>
                    <a:pt x="57313" y="27925"/>
                  </a:lnTo>
                  <a:lnTo>
                    <a:pt x="55883" y="19093"/>
                  </a:lnTo>
                  <a:lnTo>
                    <a:pt x="49250" y="8793"/>
                  </a:lnTo>
                  <a:lnTo>
                    <a:pt x="37473" y="2001"/>
                  </a:lnTo>
                  <a:lnTo>
                    <a:pt x="20832" y="0"/>
                  </a:lnTo>
                  <a:close/>
                </a:path>
              </a:pathLst>
            </a:custGeom>
            <a:solidFill>
              <a:srgbClr val="606060"/>
            </a:solidFill>
          </p:spPr>
          <p:txBody>
            <a:bodyPr wrap="square" lIns="0" tIns="0" rIns="0" bIns="0" rtlCol="0"/>
            <a:lstStyle/>
            <a:p>
              <a:endParaRPr sz="1350"/>
            </a:p>
          </p:txBody>
        </p:sp>
        <p:sp>
          <p:nvSpPr>
            <p:cNvPr id="96" name="bk object 96"/>
            <p:cNvSpPr/>
            <p:nvPr/>
          </p:nvSpPr>
          <p:spPr>
            <a:xfrm>
              <a:off x="14058633" y="7838199"/>
              <a:ext cx="57785" cy="57150"/>
            </a:xfrm>
            <a:custGeom>
              <a:avLst/>
              <a:gdLst/>
              <a:ahLst/>
              <a:cxnLst/>
              <a:rect l="l" t="t" r="r" b="b"/>
              <a:pathLst>
                <a:path w="57784"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97" name="bk object 97"/>
            <p:cNvSpPr/>
            <p:nvPr/>
          </p:nvSpPr>
          <p:spPr>
            <a:xfrm>
              <a:off x="14307349" y="7838199"/>
              <a:ext cx="57785" cy="57150"/>
            </a:xfrm>
            <a:custGeom>
              <a:avLst/>
              <a:gdLst/>
              <a:ahLst/>
              <a:cxnLst/>
              <a:rect l="l" t="t" r="r" b="b"/>
              <a:pathLst>
                <a:path w="57784" h="57150">
                  <a:moveTo>
                    <a:pt x="20827" y="0"/>
                  </a:moveTo>
                  <a:lnTo>
                    <a:pt x="9847" y="6221"/>
                  </a:lnTo>
                  <a:lnTo>
                    <a:pt x="2449" y="17622"/>
                  </a:lnTo>
                  <a:lnTo>
                    <a:pt x="0" y="33652"/>
                  </a:lnTo>
                  <a:lnTo>
                    <a:pt x="5649" y="45541"/>
                  </a:lnTo>
                  <a:lnTo>
                    <a:pt x="16529" y="53726"/>
                  </a:lnTo>
                  <a:lnTo>
                    <a:pt x="31642" y="56685"/>
                  </a:lnTo>
                  <a:lnTo>
                    <a:pt x="44719" y="51811"/>
                  </a:lnTo>
                  <a:lnTo>
                    <a:pt x="53868" y="41629"/>
                  </a:lnTo>
                  <a:lnTo>
                    <a:pt x="57313" y="27925"/>
                  </a:lnTo>
                  <a:lnTo>
                    <a:pt x="55883" y="19090"/>
                  </a:lnTo>
                  <a:lnTo>
                    <a:pt x="49253" y="8791"/>
                  </a:lnTo>
                  <a:lnTo>
                    <a:pt x="37475" y="2000"/>
                  </a:lnTo>
                  <a:lnTo>
                    <a:pt x="20827" y="0"/>
                  </a:lnTo>
                  <a:close/>
                </a:path>
              </a:pathLst>
            </a:custGeom>
            <a:solidFill>
              <a:srgbClr val="606060"/>
            </a:solidFill>
          </p:spPr>
          <p:txBody>
            <a:bodyPr wrap="square" lIns="0" tIns="0" rIns="0" bIns="0" rtlCol="0"/>
            <a:lstStyle/>
            <a:p>
              <a:endParaRPr sz="1350"/>
            </a:p>
          </p:txBody>
        </p:sp>
        <p:sp>
          <p:nvSpPr>
            <p:cNvPr id="98" name="bk object 98"/>
            <p:cNvSpPr/>
            <p:nvPr/>
          </p:nvSpPr>
          <p:spPr>
            <a:xfrm>
              <a:off x="13561197" y="8074073"/>
              <a:ext cx="57785" cy="57150"/>
            </a:xfrm>
            <a:custGeom>
              <a:avLst/>
              <a:gdLst/>
              <a:ahLst/>
              <a:cxnLst/>
              <a:rect l="l" t="t" r="r" b="b"/>
              <a:pathLst>
                <a:path w="57784"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99" name="bk object 99"/>
            <p:cNvSpPr/>
            <p:nvPr/>
          </p:nvSpPr>
          <p:spPr>
            <a:xfrm>
              <a:off x="13809908" y="8074076"/>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00" name="bk object 100"/>
            <p:cNvSpPr/>
            <p:nvPr/>
          </p:nvSpPr>
          <p:spPr>
            <a:xfrm>
              <a:off x="14058630" y="8074076"/>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01" name="bk object 101"/>
            <p:cNvSpPr/>
            <p:nvPr/>
          </p:nvSpPr>
          <p:spPr>
            <a:xfrm>
              <a:off x="14307346" y="8074076"/>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02" name="bk object 102"/>
            <p:cNvSpPr/>
            <p:nvPr/>
          </p:nvSpPr>
          <p:spPr>
            <a:xfrm>
              <a:off x="13561200" y="6448302"/>
              <a:ext cx="57785" cy="57150"/>
            </a:xfrm>
            <a:custGeom>
              <a:avLst/>
              <a:gdLst/>
              <a:ahLst/>
              <a:cxnLst/>
              <a:rect l="l" t="t" r="r" b="b"/>
              <a:pathLst>
                <a:path w="57784" h="57150">
                  <a:moveTo>
                    <a:pt x="20835" y="0"/>
                  </a:moveTo>
                  <a:lnTo>
                    <a:pt x="9853" y="6214"/>
                  </a:lnTo>
                  <a:lnTo>
                    <a:pt x="2452" y="17613"/>
                  </a:lnTo>
                  <a:lnTo>
                    <a:pt x="0" y="33648"/>
                  </a:lnTo>
                  <a:lnTo>
                    <a:pt x="5646" y="45541"/>
                  </a:lnTo>
                  <a:lnTo>
                    <a:pt x="16523" y="53729"/>
                  </a:lnTo>
                  <a:lnTo>
                    <a:pt x="31631" y="56689"/>
                  </a:lnTo>
                  <a:lnTo>
                    <a:pt x="44708" y="51815"/>
                  </a:lnTo>
                  <a:lnTo>
                    <a:pt x="53857" y="41634"/>
                  </a:lnTo>
                  <a:lnTo>
                    <a:pt x="57302" y="27929"/>
                  </a:lnTo>
                  <a:lnTo>
                    <a:pt x="55876" y="19102"/>
                  </a:lnTo>
                  <a:lnTo>
                    <a:pt x="49250" y="8796"/>
                  </a:lnTo>
                  <a:lnTo>
                    <a:pt x="37476" y="2002"/>
                  </a:lnTo>
                  <a:lnTo>
                    <a:pt x="20835" y="0"/>
                  </a:lnTo>
                  <a:close/>
                </a:path>
              </a:pathLst>
            </a:custGeom>
            <a:solidFill>
              <a:srgbClr val="606060"/>
            </a:solidFill>
          </p:spPr>
          <p:txBody>
            <a:bodyPr wrap="square" lIns="0" tIns="0" rIns="0" bIns="0" rtlCol="0"/>
            <a:lstStyle/>
            <a:p>
              <a:endParaRPr sz="1350"/>
            </a:p>
          </p:txBody>
        </p:sp>
        <p:sp>
          <p:nvSpPr>
            <p:cNvPr id="103" name="bk object 103"/>
            <p:cNvSpPr/>
            <p:nvPr/>
          </p:nvSpPr>
          <p:spPr>
            <a:xfrm>
              <a:off x="13809912" y="6448305"/>
              <a:ext cx="57785" cy="57150"/>
            </a:xfrm>
            <a:custGeom>
              <a:avLst/>
              <a:gdLst/>
              <a:ahLst/>
              <a:cxnLst/>
              <a:rect l="l" t="t" r="r" b="b"/>
              <a:pathLst>
                <a:path w="57784" h="57150">
                  <a:moveTo>
                    <a:pt x="20832" y="0"/>
                  </a:moveTo>
                  <a:lnTo>
                    <a:pt x="9853" y="6217"/>
                  </a:lnTo>
                  <a:lnTo>
                    <a:pt x="2452" y="17617"/>
                  </a:lnTo>
                  <a:lnTo>
                    <a:pt x="0" y="33651"/>
                  </a:lnTo>
                  <a:lnTo>
                    <a:pt x="5652" y="45541"/>
                  </a:lnTo>
                  <a:lnTo>
                    <a:pt x="16533" y="53726"/>
                  </a:lnTo>
                  <a:lnTo>
                    <a:pt x="31639" y="56686"/>
                  </a:lnTo>
                  <a:lnTo>
                    <a:pt x="44713" y="51812"/>
                  </a:lnTo>
                  <a:lnTo>
                    <a:pt x="53865" y="41630"/>
                  </a:lnTo>
                  <a:lnTo>
                    <a:pt x="57313" y="27926"/>
                  </a:lnTo>
                  <a:lnTo>
                    <a:pt x="55883" y="19090"/>
                  </a:lnTo>
                  <a:lnTo>
                    <a:pt x="49251" y="8788"/>
                  </a:lnTo>
                  <a:lnTo>
                    <a:pt x="37473" y="1999"/>
                  </a:lnTo>
                  <a:lnTo>
                    <a:pt x="20832" y="0"/>
                  </a:lnTo>
                  <a:close/>
                </a:path>
              </a:pathLst>
            </a:custGeom>
            <a:solidFill>
              <a:srgbClr val="606060"/>
            </a:solidFill>
          </p:spPr>
          <p:txBody>
            <a:bodyPr wrap="square" lIns="0" tIns="0" rIns="0" bIns="0" rtlCol="0"/>
            <a:lstStyle/>
            <a:p>
              <a:endParaRPr sz="1350"/>
            </a:p>
          </p:txBody>
        </p:sp>
        <p:sp>
          <p:nvSpPr>
            <p:cNvPr id="104" name="bk object 104"/>
            <p:cNvSpPr/>
            <p:nvPr/>
          </p:nvSpPr>
          <p:spPr>
            <a:xfrm>
              <a:off x="14058633" y="6448305"/>
              <a:ext cx="57785" cy="57150"/>
            </a:xfrm>
            <a:custGeom>
              <a:avLst/>
              <a:gdLst/>
              <a:ahLst/>
              <a:cxnLst/>
              <a:rect l="l" t="t" r="r" b="b"/>
              <a:pathLst>
                <a:path w="57784"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105" name="bk object 105"/>
            <p:cNvSpPr/>
            <p:nvPr/>
          </p:nvSpPr>
          <p:spPr>
            <a:xfrm>
              <a:off x="14307349" y="6448305"/>
              <a:ext cx="57785" cy="57150"/>
            </a:xfrm>
            <a:custGeom>
              <a:avLst/>
              <a:gdLst/>
              <a:ahLst/>
              <a:cxnLst/>
              <a:rect l="l" t="t" r="r" b="b"/>
              <a:pathLst>
                <a:path w="57784" h="57150">
                  <a:moveTo>
                    <a:pt x="20827" y="0"/>
                  </a:moveTo>
                  <a:lnTo>
                    <a:pt x="9847" y="6218"/>
                  </a:lnTo>
                  <a:lnTo>
                    <a:pt x="2449" y="17617"/>
                  </a:lnTo>
                  <a:lnTo>
                    <a:pt x="0" y="33653"/>
                  </a:lnTo>
                  <a:lnTo>
                    <a:pt x="5649" y="45542"/>
                  </a:lnTo>
                  <a:lnTo>
                    <a:pt x="16529" y="53726"/>
                  </a:lnTo>
                  <a:lnTo>
                    <a:pt x="31642" y="56686"/>
                  </a:lnTo>
                  <a:lnTo>
                    <a:pt x="44719" y="51812"/>
                  </a:lnTo>
                  <a:lnTo>
                    <a:pt x="53868" y="41630"/>
                  </a:lnTo>
                  <a:lnTo>
                    <a:pt x="57313" y="27925"/>
                  </a:lnTo>
                  <a:lnTo>
                    <a:pt x="55883" y="19086"/>
                  </a:lnTo>
                  <a:lnTo>
                    <a:pt x="49253" y="8787"/>
                  </a:lnTo>
                  <a:lnTo>
                    <a:pt x="37475" y="1999"/>
                  </a:lnTo>
                  <a:lnTo>
                    <a:pt x="20827" y="0"/>
                  </a:lnTo>
                  <a:close/>
                </a:path>
              </a:pathLst>
            </a:custGeom>
            <a:solidFill>
              <a:srgbClr val="606060"/>
            </a:solidFill>
          </p:spPr>
          <p:txBody>
            <a:bodyPr wrap="square" lIns="0" tIns="0" rIns="0" bIns="0" rtlCol="0"/>
            <a:lstStyle/>
            <a:p>
              <a:endParaRPr sz="1350"/>
            </a:p>
          </p:txBody>
        </p:sp>
        <p:sp>
          <p:nvSpPr>
            <p:cNvPr id="106" name="bk object 106"/>
            <p:cNvSpPr/>
            <p:nvPr/>
          </p:nvSpPr>
          <p:spPr>
            <a:xfrm>
              <a:off x="13561197" y="6684173"/>
              <a:ext cx="57785" cy="57150"/>
            </a:xfrm>
            <a:custGeom>
              <a:avLst/>
              <a:gdLst/>
              <a:ahLst/>
              <a:cxnLst/>
              <a:rect l="l" t="t" r="r" b="b"/>
              <a:pathLst>
                <a:path w="57784"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107" name="bk object 107"/>
            <p:cNvSpPr/>
            <p:nvPr/>
          </p:nvSpPr>
          <p:spPr>
            <a:xfrm>
              <a:off x="13809908" y="6684177"/>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08" name="bk object 108"/>
            <p:cNvSpPr/>
            <p:nvPr/>
          </p:nvSpPr>
          <p:spPr>
            <a:xfrm>
              <a:off x="14058630" y="6684176"/>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09" name="bk object 109"/>
            <p:cNvSpPr/>
            <p:nvPr/>
          </p:nvSpPr>
          <p:spPr>
            <a:xfrm>
              <a:off x="14307346" y="6684177"/>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10" name="bk object 110"/>
            <p:cNvSpPr/>
            <p:nvPr/>
          </p:nvSpPr>
          <p:spPr>
            <a:xfrm>
              <a:off x="13561200" y="6920050"/>
              <a:ext cx="57785" cy="57150"/>
            </a:xfrm>
            <a:custGeom>
              <a:avLst/>
              <a:gdLst/>
              <a:ahLst/>
              <a:cxnLst/>
              <a:rect l="l" t="t" r="r" b="b"/>
              <a:pathLst>
                <a:path w="57784" h="57150">
                  <a:moveTo>
                    <a:pt x="20835" y="0"/>
                  </a:moveTo>
                  <a:lnTo>
                    <a:pt x="9853" y="6218"/>
                  </a:lnTo>
                  <a:lnTo>
                    <a:pt x="2452" y="17618"/>
                  </a:lnTo>
                  <a:lnTo>
                    <a:pt x="0" y="33647"/>
                  </a:lnTo>
                  <a:lnTo>
                    <a:pt x="5646" y="45540"/>
                  </a:lnTo>
                  <a:lnTo>
                    <a:pt x="16523" y="53728"/>
                  </a:lnTo>
                  <a:lnTo>
                    <a:pt x="31631" y="56689"/>
                  </a:lnTo>
                  <a:lnTo>
                    <a:pt x="44708" y="51814"/>
                  </a:lnTo>
                  <a:lnTo>
                    <a:pt x="53857" y="41633"/>
                  </a:lnTo>
                  <a:lnTo>
                    <a:pt x="57302" y="27928"/>
                  </a:lnTo>
                  <a:lnTo>
                    <a:pt x="55876" y="19106"/>
                  </a:lnTo>
                  <a:lnTo>
                    <a:pt x="49250" y="8800"/>
                  </a:lnTo>
                  <a:lnTo>
                    <a:pt x="37476" y="2004"/>
                  </a:lnTo>
                  <a:lnTo>
                    <a:pt x="20835" y="0"/>
                  </a:lnTo>
                  <a:close/>
                </a:path>
              </a:pathLst>
            </a:custGeom>
            <a:solidFill>
              <a:srgbClr val="606060"/>
            </a:solidFill>
          </p:spPr>
          <p:txBody>
            <a:bodyPr wrap="square" lIns="0" tIns="0" rIns="0" bIns="0" rtlCol="0"/>
            <a:lstStyle/>
            <a:p>
              <a:endParaRPr sz="1350"/>
            </a:p>
          </p:txBody>
        </p:sp>
        <p:sp>
          <p:nvSpPr>
            <p:cNvPr id="111" name="bk object 111"/>
            <p:cNvSpPr/>
            <p:nvPr/>
          </p:nvSpPr>
          <p:spPr>
            <a:xfrm>
              <a:off x="13809912" y="6920054"/>
              <a:ext cx="57785" cy="57150"/>
            </a:xfrm>
            <a:custGeom>
              <a:avLst/>
              <a:gdLst/>
              <a:ahLst/>
              <a:cxnLst/>
              <a:rect l="l" t="t" r="r" b="b"/>
              <a:pathLst>
                <a:path w="57784" h="57150">
                  <a:moveTo>
                    <a:pt x="20832" y="0"/>
                  </a:moveTo>
                  <a:lnTo>
                    <a:pt x="9853" y="6221"/>
                  </a:lnTo>
                  <a:lnTo>
                    <a:pt x="2452" y="17621"/>
                  </a:lnTo>
                  <a:lnTo>
                    <a:pt x="0" y="33651"/>
                  </a:lnTo>
                  <a:lnTo>
                    <a:pt x="5652" y="45540"/>
                  </a:lnTo>
                  <a:lnTo>
                    <a:pt x="16533" y="53726"/>
                  </a:lnTo>
                  <a:lnTo>
                    <a:pt x="31639" y="56685"/>
                  </a:lnTo>
                  <a:lnTo>
                    <a:pt x="44713" y="51811"/>
                  </a:lnTo>
                  <a:lnTo>
                    <a:pt x="53865" y="41629"/>
                  </a:lnTo>
                  <a:lnTo>
                    <a:pt x="57313" y="27925"/>
                  </a:lnTo>
                  <a:lnTo>
                    <a:pt x="55883" y="19093"/>
                  </a:lnTo>
                  <a:lnTo>
                    <a:pt x="49250" y="8793"/>
                  </a:lnTo>
                  <a:lnTo>
                    <a:pt x="37473" y="2001"/>
                  </a:lnTo>
                  <a:lnTo>
                    <a:pt x="20832" y="0"/>
                  </a:lnTo>
                  <a:close/>
                </a:path>
              </a:pathLst>
            </a:custGeom>
            <a:solidFill>
              <a:srgbClr val="606060"/>
            </a:solidFill>
          </p:spPr>
          <p:txBody>
            <a:bodyPr wrap="square" lIns="0" tIns="0" rIns="0" bIns="0" rtlCol="0"/>
            <a:lstStyle/>
            <a:p>
              <a:endParaRPr sz="1350"/>
            </a:p>
          </p:txBody>
        </p:sp>
        <p:sp>
          <p:nvSpPr>
            <p:cNvPr id="112" name="bk object 112"/>
            <p:cNvSpPr/>
            <p:nvPr/>
          </p:nvSpPr>
          <p:spPr>
            <a:xfrm>
              <a:off x="14058633" y="6920054"/>
              <a:ext cx="57785" cy="57150"/>
            </a:xfrm>
            <a:custGeom>
              <a:avLst/>
              <a:gdLst/>
              <a:ahLst/>
              <a:cxnLst/>
              <a:rect l="l" t="t" r="r" b="b"/>
              <a:pathLst>
                <a:path w="57784"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113" name="bk object 113"/>
            <p:cNvSpPr/>
            <p:nvPr/>
          </p:nvSpPr>
          <p:spPr>
            <a:xfrm>
              <a:off x="14307349" y="6920054"/>
              <a:ext cx="57785" cy="57150"/>
            </a:xfrm>
            <a:custGeom>
              <a:avLst/>
              <a:gdLst/>
              <a:ahLst/>
              <a:cxnLst/>
              <a:rect l="l" t="t" r="r" b="b"/>
              <a:pathLst>
                <a:path w="57784" h="57150">
                  <a:moveTo>
                    <a:pt x="20827" y="0"/>
                  </a:moveTo>
                  <a:lnTo>
                    <a:pt x="9847" y="6221"/>
                  </a:lnTo>
                  <a:lnTo>
                    <a:pt x="2449" y="17622"/>
                  </a:lnTo>
                  <a:lnTo>
                    <a:pt x="0" y="33652"/>
                  </a:lnTo>
                  <a:lnTo>
                    <a:pt x="5649" y="45541"/>
                  </a:lnTo>
                  <a:lnTo>
                    <a:pt x="16529" y="53726"/>
                  </a:lnTo>
                  <a:lnTo>
                    <a:pt x="31642" y="56685"/>
                  </a:lnTo>
                  <a:lnTo>
                    <a:pt x="44719" y="51811"/>
                  </a:lnTo>
                  <a:lnTo>
                    <a:pt x="53868" y="41629"/>
                  </a:lnTo>
                  <a:lnTo>
                    <a:pt x="57313" y="27925"/>
                  </a:lnTo>
                  <a:lnTo>
                    <a:pt x="55883" y="19090"/>
                  </a:lnTo>
                  <a:lnTo>
                    <a:pt x="49253" y="8791"/>
                  </a:lnTo>
                  <a:lnTo>
                    <a:pt x="37475" y="2000"/>
                  </a:lnTo>
                  <a:lnTo>
                    <a:pt x="20827" y="0"/>
                  </a:lnTo>
                  <a:close/>
                </a:path>
              </a:pathLst>
            </a:custGeom>
            <a:solidFill>
              <a:srgbClr val="606060"/>
            </a:solidFill>
          </p:spPr>
          <p:txBody>
            <a:bodyPr wrap="square" lIns="0" tIns="0" rIns="0" bIns="0" rtlCol="0"/>
            <a:lstStyle/>
            <a:p>
              <a:endParaRPr sz="1350"/>
            </a:p>
          </p:txBody>
        </p:sp>
        <p:sp>
          <p:nvSpPr>
            <p:cNvPr id="114" name="bk object 114"/>
            <p:cNvSpPr/>
            <p:nvPr/>
          </p:nvSpPr>
          <p:spPr>
            <a:xfrm>
              <a:off x="13561197" y="7155926"/>
              <a:ext cx="57785" cy="57150"/>
            </a:xfrm>
            <a:custGeom>
              <a:avLst/>
              <a:gdLst/>
              <a:ahLst/>
              <a:cxnLst/>
              <a:rect l="l" t="t" r="r" b="b"/>
              <a:pathLst>
                <a:path w="57784" h="57150">
                  <a:moveTo>
                    <a:pt x="20849" y="0"/>
                  </a:moveTo>
                  <a:lnTo>
                    <a:pt x="9862" y="6211"/>
                  </a:lnTo>
                  <a:lnTo>
                    <a:pt x="2455" y="17606"/>
                  </a:lnTo>
                  <a:lnTo>
                    <a:pt x="0" y="33635"/>
                  </a:lnTo>
                  <a:lnTo>
                    <a:pt x="5642" y="45532"/>
                  </a:lnTo>
                  <a:lnTo>
                    <a:pt x="16518" y="53720"/>
                  </a:lnTo>
                  <a:lnTo>
                    <a:pt x="31624" y="56681"/>
                  </a:lnTo>
                  <a:lnTo>
                    <a:pt x="44706" y="51813"/>
                  </a:lnTo>
                  <a:lnTo>
                    <a:pt x="53859" y="41637"/>
                  </a:lnTo>
                  <a:lnTo>
                    <a:pt x="57305" y="27932"/>
                  </a:lnTo>
                  <a:lnTo>
                    <a:pt x="55882" y="19113"/>
                  </a:lnTo>
                  <a:lnTo>
                    <a:pt x="49259" y="8803"/>
                  </a:lnTo>
                  <a:lnTo>
                    <a:pt x="37487" y="2005"/>
                  </a:lnTo>
                  <a:lnTo>
                    <a:pt x="20849" y="0"/>
                  </a:lnTo>
                  <a:close/>
                </a:path>
              </a:pathLst>
            </a:custGeom>
            <a:solidFill>
              <a:srgbClr val="606060"/>
            </a:solidFill>
          </p:spPr>
          <p:txBody>
            <a:bodyPr wrap="square" lIns="0" tIns="0" rIns="0" bIns="0" rtlCol="0"/>
            <a:lstStyle/>
            <a:p>
              <a:endParaRPr sz="1350"/>
            </a:p>
          </p:txBody>
        </p:sp>
        <p:sp>
          <p:nvSpPr>
            <p:cNvPr id="115" name="bk object 115"/>
            <p:cNvSpPr/>
            <p:nvPr/>
          </p:nvSpPr>
          <p:spPr>
            <a:xfrm>
              <a:off x="13809908" y="7155929"/>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16" name="bk object 116"/>
            <p:cNvSpPr/>
            <p:nvPr/>
          </p:nvSpPr>
          <p:spPr>
            <a:xfrm>
              <a:off x="14058630" y="7155929"/>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17" name="bk object 117"/>
            <p:cNvSpPr/>
            <p:nvPr/>
          </p:nvSpPr>
          <p:spPr>
            <a:xfrm>
              <a:off x="14307346" y="7155929"/>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18" name="bk object 118"/>
            <p:cNvSpPr/>
            <p:nvPr/>
          </p:nvSpPr>
          <p:spPr>
            <a:xfrm>
              <a:off x="14307346" y="7366448"/>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19" name="bk object 119"/>
            <p:cNvSpPr/>
            <p:nvPr/>
          </p:nvSpPr>
          <p:spPr>
            <a:xfrm>
              <a:off x="14556065" y="7366449"/>
              <a:ext cx="57785" cy="57150"/>
            </a:xfrm>
            <a:custGeom>
              <a:avLst/>
              <a:gdLst/>
              <a:ahLst/>
              <a:cxnLst/>
              <a:rect l="l" t="t" r="r" b="b"/>
              <a:pathLst>
                <a:path w="57784" h="57150">
                  <a:moveTo>
                    <a:pt x="20846" y="0"/>
                  </a:moveTo>
                  <a:lnTo>
                    <a:pt x="9859" y="6215"/>
                  </a:lnTo>
                  <a:lnTo>
                    <a:pt x="2454" y="17611"/>
                  </a:lnTo>
                  <a:lnTo>
                    <a:pt x="0" y="33638"/>
                  </a:lnTo>
                  <a:lnTo>
                    <a:pt x="5648" y="45530"/>
                  </a:lnTo>
                  <a:lnTo>
                    <a:pt x="16529" y="53716"/>
                  </a:lnTo>
                  <a:lnTo>
                    <a:pt x="31636" y="56677"/>
                  </a:lnTo>
                  <a:lnTo>
                    <a:pt x="44714" y="51811"/>
                  </a:lnTo>
                  <a:lnTo>
                    <a:pt x="53868" y="41634"/>
                  </a:lnTo>
                  <a:lnTo>
                    <a:pt x="57316" y="27927"/>
                  </a:lnTo>
                  <a:lnTo>
                    <a:pt x="55889" y="19097"/>
                  </a:lnTo>
                  <a:lnTo>
                    <a:pt x="49262" y="8793"/>
                  </a:lnTo>
                  <a:lnTo>
                    <a:pt x="37488" y="2001"/>
                  </a:lnTo>
                  <a:lnTo>
                    <a:pt x="20846" y="0"/>
                  </a:lnTo>
                  <a:close/>
                </a:path>
              </a:pathLst>
            </a:custGeom>
            <a:solidFill>
              <a:srgbClr val="606060"/>
            </a:solidFill>
          </p:spPr>
          <p:txBody>
            <a:bodyPr wrap="square" lIns="0" tIns="0" rIns="0" bIns="0" rtlCol="0"/>
            <a:lstStyle/>
            <a:p>
              <a:endParaRPr sz="1350"/>
            </a:p>
          </p:txBody>
        </p:sp>
        <p:sp>
          <p:nvSpPr>
            <p:cNvPr id="120" name="bk object 120"/>
            <p:cNvSpPr/>
            <p:nvPr/>
          </p:nvSpPr>
          <p:spPr>
            <a:xfrm>
              <a:off x="14804787" y="7366447"/>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21" name="bk object 121"/>
            <p:cNvSpPr/>
            <p:nvPr/>
          </p:nvSpPr>
          <p:spPr>
            <a:xfrm>
              <a:off x="15053510" y="7366447"/>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22" name="bk object 122"/>
            <p:cNvSpPr/>
            <p:nvPr/>
          </p:nvSpPr>
          <p:spPr>
            <a:xfrm>
              <a:off x="14307349" y="7602325"/>
              <a:ext cx="57785" cy="57150"/>
            </a:xfrm>
            <a:custGeom>
              <a:avLst/>
              <a:gdLst/>
              <a:ahLst/>
              <a:cxnLst/>
              <a:rect l="l" t="t" r="r" b="b"/>
              <a:pathLst>
                <a:path w="57784" h="57150">
                  <a:moveTo>
                    <a:pt x="20825" y="0"/>
                  </a:moveTo>
                  <a:lnTo>
                    <a:pt x="9846" y="6218"/>
                  </a:lnTo>
                  <a:lnTo>
                    <a:pt x="2449" y="17619"/>
                  </a:lnTo>
                  <a:lnTo>
                    <a:pt x="0" y="33656"/>
                  </a:lnTo>
                  <a:lnTo>
                    <a:pt x="5649" y="45546"/>
                  </a:lnTo>
                  <a:lnTo>
                    <a:pt x="16529" y="53728"/>
                  </a:lnTo>
                  <a:lnTo>
                    <a:pt x="31642" y="56685"/>
                  </a:lnTo>
                  <a:lnTo>
                    <a:pt x="44719" y="51814"/>
                  </a:lnTo>
                  <a:lnTo>
                    <a:pt x="53868" y="41635"/>
                  </a:lnTo>
                  <a:lnTo>
                    <a:pt x="57313" y="27925"/>
                  </a:lnTo>
                  <a:lnTo>
                    <a:pt x="55882" y="19084"/>
                  </a:lnTo>
                  <a:lnTo>
                    <a:pt x="49252" y="8785"/>
                  </a:lnTo>
                  <a:lnTo>
                    <a:pt x="37474" y="1998"/>
                  </a:lnTo>
                  <a:lnTo>
                    <a:pt x="20825" y="0"/>
                  </a:lnTo>
                  <a:close/>
                </a:path>
              </a:pathLst>
            </a:custGeom>
            <a:solidFill>
              <a:srgbClr val="606060"/>
            </a:solidFill>
          </p:spPr>
          <p:txBody>
            <a:bodyPr wrap="square" lIns="0" tIns="0" rIns="0" bIns="0" rtlCol="0"/>
            <a:lstStyle/>
            <a:p>
              <a:endParaRPr sz="1350"/>
            </a:p>
          </p:txBody>
        </p:sp>
        <p:sp>
          <p:nvSpPr>
            <p:cNvPr id="123" name="bk object 123"/>
            <p:cNvSpPr/>
            <p:nvPr/>
          </p:nvSpPr>
          <p:spPr>
            <a:xfrm>
              <a:off x="14556068" y="7602328"/>
              <a:ext cx="57785" cy="57150"/>
            </a:xfrm>
            <a:custGeom>
              <a:avLst/>
              <a:gdLst/>
              <a:ahLst/>
              <a:cxnLst/>
              <a:rect l="l" t="t" r="r" b="b"/>
              <a:pathLst>
                <a:path w="57784" h="57150">
                  <a:moveTo>
                    <a:pt x="20830" y="0"/>
                  </a:moveTo>
                  <a:lnTo>
                    <a:pt x="9850" y="6220"/>
                  </a:lnTo>
                  <a:lnTo>
                    <a:pt x="2450" y="17619"/>
                  </a:lnTo>
                  <a:lnTo>
                    <a:pt x="0" y="33654"/>
                  </a:lnTo>
                  <a:lnTo>
                    <a:pt x="5652" y="45544"/>
                  </a:lnTo>
                  <a:lnTo>
                    <a:pt x="16534" y="53727"/>
                  </a:lnTo>
                  <a:lnTo>
                    <a:pt x="31642" y="56684"/>
                  </a:lnTo>
                  <a:lnTo>
                    <a:pt x="44716" y="51816"/>
                  </a:lnTo>
                  <a:lnTo>
                    <a:pt x="53867" y="41636"/>
                  </a:lnTo>
                  <a:lnTo>
                    <a:pt x="57313" y="27923"/>
                  </a:lnTo>
                  <a:lnTo>
                    <a:pt x="55883" y="19084"/>
                  </a:lnTo>
                  <a:lnTo>
                    <a:pt x="49253" y="8785"/>
                  </a:lnTo>
                  <a:lnTo>
                    <a:pt x="37476" y="1997"/>
                  </a:lnTo>
                  <a:lnTo>
                    <a:pt x="20830" y="0"/>
                  </a:lnTo>
                  <a:close/>
                </a:path>
              </a:pathLst>
            </a:custGeom>
            <a:solidFill>
              <a:srgbClr val="606060"/>
            </a:solidFill>
          </p:spPr>
          <p:txBody>
            <a:bodyPr wrap="square" lIns="0" tIns="0" rIns="0" bIns="0" rtlCol="0"/>
            <a:lstStyle/>
            <a:p>
              <a:endParaRPr sz="1350"/>
            </a:p>
          </p:txBody>
        </p:sp>
        <p:sp>
          <p:nvSpPr>
            <p:cNvPr id="124" name="bk object 124"/>
            <p:cNvSpPr/>
            <p:nvPr/>
          </p:nvSpPr>
          <p:spPr>
            <a:xfrm>
              <a:off x="14804790" y="7602325"/>
              <a:ext cx="57785" cy="57150"/>
            </a:xfrm>
            <a:custGeom>
              <a:avLst/>
              <a:gdLst/>
              <a:ahLst/>
              <a:cxnLst/>
              <a:rect l="l" t="t" r="r" b="b"/>
              <a:pathLst>
                <a:path w="57784" h="57150">
                  <a:moveTo>
                    <a:pt x="20830" y="0"/>
                  </a:moveTo>
                  <a:lnTo>
                    <a:pt x="9852" y="6218"/>
                  </a:lnTo>
                  <a:lnTo>
                    <a:pt x="2451" y="17618"/>
                  </a:lnTo>
                  <a:lnTo>
                    <a:pt x="0" y="33654"/>
                  </a:lnTo>
                  <a:lnTo>
                    <a:pt x="5652" y="45546"/>
                  </a:lnTo>
                  <a:lnTo>
                    <a:pt x="16533" y="53728"/>
                  </a:lnTo>
                  <a:lnTo>
                    <a:pt x="31639" y="56686"/>
                  </a:lnTo>
                  <a:lnTo>
                    <a:pt x="44713" y="51815"/>
                  </a:lnTo>
                  <a:lnTo>
                    <a:pt x="53865" y="41635"/>
                  </a:lnTo>
                  <a:lnTo>
                    <a:pt x="57313" y="27925"/>
                  </a:lnTo>
                  <a:lnTo>
                    <a:pt x="55882" y="19087"/>
                  </a:lnTo>
                  <a:lnTo>
                    <a:pt x="49250" y="8787"/>
                  </a:lnTo>
                  <a:lnTo>
                    <a:pt x="37472" y="1999"/>
                  </a:lnTo>
                  <a:lnTo>
                    <a:pt x="20830" y="0"/>
                  </a:lnTo>
                  <a:close/>
                </a:path>
              </a:pathLst>
            </a:custGeom>
            <a:solidFill>
              <a:srgbClr val="606060"/>
            </a:solidFill>
          </p:spPr>
          <p:txBody>
            <a:bodyPr wrap="square" lIns="0" tIns="0" rIns="0" bIns="0" rtlCol="0"/>
            <a:lstStyle/>
            <a:p>
              <a:endParaRPr sz="1350"/>
            </a:p>
          </p:txBody>
        </p:sp>
        <p:sp>
          <p:nvSpPr>
            <p:cNvPr id="125" name="bk object 125"/>
            <p:cNvSpPr/>
            <p:nvPr/>
          </p:nvSpPr>
          <p:spPr>
            <a:xfrm>
              <a:off x="15053513" y="7602325"/>
              <a:ext cx="57785" cy="57150"/>
            </a:xfrm>
            <a:custGeom>
              <a:avLst/>
              <a:gdLst/>
              <a:ahLst/>
              <a:cxnLst/>
              <a:rect l="l" t="t" r="r" b="b"/>
              <a:pathLst>
                <a:path w="57784" h="57150">
                  <a:moveTo>
                    <a:pt x="20827" y="0"/>
                  </a:moveTo>
                  <a:lnTo>
                    <a:pt x="9847" y="6218"/>
                  </a:lnTo>
                  <a:lnTo>
                    <a:pt x="2449" y="17618"/>
                  </a:lnTo>
                  <a:lnTo>
                    <a:pt x="0" y="33654"/>
                  </a:lnTo>
                  <a:lnTo>
                    <a:pt x="5648" y="45546"/>
                  </a:lnTo>
                  <a:lnTo>
                    <a:pt x="16528" y="53728"/>
                  </a:lnTo>
                  <a:lnTo>
                    <a:pt x="31640" y="56686"/>
                  </a:lnTo>
                  <a:lnTo>
                    <a:pt x="44713" y="51815"/>
                  </a:lnTo>
                  <a:lnTo>
                    <a:pt x="53866" y="41635"/>
                  </a:lnTo>
                  <a:lnTo>
                    <a:pt x="57313" y="27925"/>
                  </a:lnTo>
                  <a:lnTo>
                    <a:pt x="55882" y="19085"/>
                  </a:lnTo>
                  <a:lnTo>
                    <a:pt x="49249" y="8786"/>
                  </a:lnTo>
                  <a:lnTo>
                    <a:pt x="37470" y="1998"/>
                  </a:lnTo>
                  <a:lnTo>
                    <a:pt x="20827" y="0"/>
                  </a:lnTo>
                  <a:close/>
                </a:path>
              </a:pathLst>
            </a:custGeom>
            <a:solidFill>
              <a:srgbClr val="606060"/>
            </a:solidFill>
          </p:spPr>
          <p:txBody>
            <a:bodyPr wrap="square" lIns="0" tIns="0" rIns="0" bIns="0" rtlCol="0"/>
            <a:lstStyle/>
            <a:p>
              <a:endParaRPr sz="1350"/>
            </a:p>
          </p:txBody>
        </p:sp>
        <p:sp>
          <p:nvSpPr>
            <p:cNvPr id="126" name="bk object 126"/>
            <p:cNvSpPr/>
            <p:nvPr/>
          </p:nvSpPr>
          <p:spPr>
            <a:xfrm>
              <a:off x="14307349" y="7838199"/>
              <a:ext cx="57785" cy="57150"/>
            </a:xfrm>
            <a:custGeom>
              <a:avLst/>
              <a:gdLst/>
              <a:ahLst/>
              <a:cxnLst/>
              <a:rect l="l" t="t" r="r" b="b"/>
              <a:pathLst>
                <a:path w="57784" h="57150">
                  <a:moveTo>
                    <a:pt x="20827" y="0"/>
                  </a:moveTo>
                  <a:lnTo>
                    <a:pt x="9847" y="6221"/>
                  </a:lnTo>
                  <a:lnTo>
                    <a:pt x="2449" y="17622"/>
                  </a:lnTo>
                  <a:lnTo>
                    <a:pt x="0" y="33652"/>
                  </a:lnTo>
                  <a:lnTo>
                    <a:pt x="5649" y="45541"/>
                  </a:lnTo>
                  <a:lnTo>
                    <a:pt x="16529" y="53726"/>
                  </a:lnTo>
                  <a:lnTo>
                    <a:pt x="31642" y="56685"/>
                  </a:lnTo>
                  <a:lnTo>
                    <a:pt x="44719" y="51811"/>
                  </a:lnTo>
                  <a:lnTo>
                    <a:pt x="53868" y="41629"/>
                  </a:lnTo>
                  <a:lnTo>
                    <a:pt x="57313" y="27925"/>
                  </a:lnTo>
                  <a:lnTo>
                    <a:pt x="55883" y="19090"/>
                  </a:lnTo>
                  <a:lnTo>
                    <a:pt x="49253" y="8791"/>
                  </a:lnTo>
                  <a:lnTo>
                    <a:pt x="37475" y="2000"/>
                  </a:lnTo>
                  <a:lnTo>
                    <a:pt x="20827" y="0"/>
                  </a:lnTo>
                  <a:close/>
                </a:path>
              </a:pathLst>
            </a:custGeom>
            <a:solidFill>
              <a:srgbClr val="606060"/>
            </a:solidFill>
          </p:spPr>
          <p:txBody>
            <a:bodyPr wrap="square" lIns="0" tIns="0" rIns="0" bIns="0" rtlCol="0"/>
            <a:lstStyle/>
            <a:p>
              <a:endParaRPr sz="1350"/>
            </a:p>
          </p:txBody>
        </p:sp>
        <p:sp>
          <p:nvSpPr>
            <p:cNvPr id="127" name="bk object 127"/>
            <p:cNvSpPr/>
            <p:nvPr/>
          </p:nvSpPr>
          <p:spPr>
            <a:xfrm>
              <a:off x="14556068" y="7838201"/>
              <a:ext cx="57785" cy="57150"/>
            </a:xfrm>
            <a:custGeom>
              <a:avLst/>
              <a:gdLst/>
              <a:ahLst/>
              <a:cxnLst/>
              <a:rect l="l" t="t" r="r" b="b"/>
              <a:pathLst>
                <a:path w="57784" h="57150">
                  <a:moveTo>
                    <a:pt x="20832" y="0"/>
                  </a:moveTo>
                  <a:lnTo>
                    <a:pt x="9851" y="6222"/>
                  </a:lnTo>
                  <a:lnTo>
                    <a:pt x="2451" y="17623"/>
                  </a:lnTo>
                  <a:lnTo>
                    <a:pt x="0" y="33650"/>
                  </a:lnTo>
                  <a:lnTo>
                    <a:pt x="5652" y="45539"/>
                  </a:lnTo>
                  <a:lnTo>
                    <a:pt x="16534" y="53724"/>
                  </a:lnTo>
                  <a:lnTo>
                    <a:pt x="31642" y="56684"/>
                  </a:lnTo>
                  <a:lnTo>
                    <a:pt x="44716" y="51812"/>
                  </a:lnTo>
                  <a:lnTo>
                    <a:pt x="53867" y="41630"/>
                  </a:lnTo>
                  <a:lnTo>
                    <a:pt x="57313" y="27923"/>
                  </a:lnTo>
                  <a:lnTo>
                    <a:pt x="55883" y="19090"/>
                  </a:lnTo>
                  <a:lnTo>
                    <a:pt x="49254" y="8790"/>
                  </a:lnTo>
                  <a:lnTo>
                    <a:pt x="37477" y="1999"/>
                  </a:lnTo>
                  <a:lnTo>
                    <a:pt x="20832" y="0"/>
                  </a:lnTo>
                  <a:close/>
                </a:path>
              </a:pathLst>
            </a:custGeom>
            <a:solidFill>
              <a:srgbClr val="606060"/>
            </a:solidFill>
          </p:spPr>
          <p:txBody>
            <a:bodyPr wrap="square" lIns="0" tIns="0" rIns="0" bIns="0" rtlCol="0"/>
            <a:lstStyle/>
            <a:p>
              <a:endParaRPr sz="1350"/>
            </a:p>
          </p:txBody>
        </p:sp>
        <p:sp>
          <p:nvSpPr>
            <p:cNvPr id="128" name="bk object 128"/>
            <p:cNvSpPr/>
            <p:nvPr/>
          </p:nvSpPr>
          <p:spPr>
            <a:xfrm>
              <a:off x="14804790" y="7838199"/>
              <a:ext cx="57785" cy="57150"/>
            </a:xfrm>
            <a:custGeom>
              <a:avLst/>
              <a:gdLst/>
              <a:ahLst/>
              <a:cxnLst/>
              <a:rect l="l" t="t" r="r" b="b"/>
              <a:pathLst>
                <a:path w="57784" h="57150">
                  <a:moveTo>
                    <a:pt x="20832" y="0"/>
                  </a:moveTo>
                  <a:lnTo>
                    <a:pt x="9853" y="6221"/>
                  </a:lnTo>
                  <a:lnTo>
                    <a:pt x="2452" y="17621"/>
                  </a:lnTo>
                  <a:lnTo>
                    <a:pt x="0" y="33651"/>
                  </a:lnTo>
                  <a:lnTo>
                    <a:pt x="5652" y="45540"/>
                  </a:lnTo>
                  <a:lnTo>
                    <a:pt x="16533" y="53726"/>
                  </a:lnTo>
                  <a:lnTo>
                    <a:pt x="31639" y="56685"/>
                  </a:lnTo>
                  <a:lnTo>
                    <a:pt x="44713" y="51811"/>
                  </a:lnTo>
                  <a:lnTo>
                    <a:pt x="53865" y="41629"/>
                  </a:lnTo>
                  <a:lnTo>
                    <a:pt x="57313" y="27925"/>
                  </a:lnTo>
                  <a:lnTo>
                    <a:pt x="55883" y="19093"/>
                  </a:lnTo>
                  <a:lnTo>
                    <a:pt x="49250" y="8793"/>
                  </a:lnTo>
                  <a:lnTo>
                    <a:pt x="37473" y="2001"/>
                  </a:lnTo>
                  <a:lnTo>
                    <a:pt x="20832" y="0"/>
                  </a:lnTo>
                  <a:close/>
                </a:path>
              </a:pathLst>
            </a:custGeom>
            <a:solidFill>
              <a:srgbClr val="606060"/>
            </a:solidFill>
          </p:spPr>
          <p:txBody>
            <a:bodyPr wrap="square" lIns="0" tIns="0" rIns="0" bIns="0" rtlCol="0"/>
            <a:lstStyle/>
            <a:p>
              <a:endParaRPr sz="1350"/>
            </a:p>
          </p:txBody>
        </p:sp>
        <p:sp>
          <p:nvSpPr>
            <p:cNvPr id="129" name="bk object 129"/>
            <p:cNvSpPr/>
            <p:nvPr/>
          </p:nvSpPr>
          <p:spPr>
            <a:xfrm>
              <a:off x="15053513" y="7838199"/>
              <a:ext cx="57785" cy="57150"/>
            </a:xfrm>
            <a:custGeom>
              <a:avLst/>
              <a:gdLst/>
              <a:ahLst/>
              <a:cxnLst/>
              <a:rect l="l" t="t" r="r" b="b"/>
              <a:pathLst>
                <a:path w="57784"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130" name="bk object 130"/>
            <p:cNvSpPr/>
            <p:nvPr/>
          </p:nvSpPr>
          <p:spPr>
            <a:xfrm>
              <a:off x="14307346" y="8074076"/>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31" name="bk object 131"/>
            <p:cNvSpPr/>
            <p:nvPr/>
          </p:nvSpPr>
          <p:spPr>
            <a:xfrm>
              <a:off x="14556065" y="8074078"/>
              <a:ext cx="57785" cy="57150"/>
            </a:xfrm>
            <a:custGeom>
              <a:avLst/>
              <a:gdLst/>
              <a:ahLst/>
              <a:cxnLst/>
              <a:rect l="l" t="t" r="r" b="b"/>
              <a:pathLst>
                <a:path w="57784" h="57150">
                  <a:moveTo>
                    <a:pt x="20846" y="0"/>
                  </a:moveTo>
                  <a:lnTo>
                    <a:pt x="9859" y="6215"/>
                  </a:lnTo>
                  <a:lnTo>
                    <a:pt x="2454" y="17611"/>
                  </a:lnTo>
                  <a:lnTo>
                    <a:pt x="0" y="33638"/>
                  </a:lnTo>
                  <a:lnTo>
                    <a:pt x="5648" y="45530"/>
                  </a:lnTo>
                  <a:lnTo>
                    <a:pt x="16529" y="53716"/>
                  </a:lnTo>
                  <a:lnTo>
                    <a:pt x="31636" y="56677"/>
                  </a:lnTo>
                  <a:lnTo>
                    <a:pt x="44714" y="51811"/>
                  </a:lnTo>
                  <a:lnTo>
                    <a:pt x="53868" y="41634"/>
                  </a:lnTo>
                  <a:lnTo>
                    <a:pt x="57316" y="27927"/>
                  </a:lnTo>
                  <a:lnTo>
                    <a:pt x="55889" y="19097"/>
                  </a:lnTo>
                  <a:lnTo>
                    <a:pt x="49262" y="8793"/>
                  </a:lnTo>
                  <a:lnTo>
                    <a:pt x="37488" y="2001"/>
                  </a:lnTo>
                  <a:lnTo>
                    <a:pt x="20846" y="0"/>
                  </a:lnTo>
                  <a:close/>
                </a:path>
              </a:pathLst>
            </a:custGeom>
            <a:solidFill>
              <a:srgbClr val="606060"/>
            </a:solidFill>
          </p:spPr>
          <p:txBody>
            <a:bodyPr wrap="square" lIns="0" tIns="0" rIns="0" bIns="0" rtlCol="0"/>
            <a:lstStyle/>
            <a:p>
              <a:endParaRPr sz="1350"/>
            </a:p>
          </p:txBody>
        </p:sp>
        <p:sp>
          <p:nvSpPr>
            <p:cNvPr id="132" name="bk object 132"/>
            <p:cNvSpPr/>
            <p:nvPr/>
          </p:nvSpPr>
          <p:spPr>
            <a:xfrm>
              <a:off x="14804787" y="8074076"/>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33" name="bk object 133"/>
            <p:cNvSpPr/>
            <p:nvPr/>
          </p:nvSpPr>
          <p:spPr>
            <a:xfrm>
              <a:off x="15053510" y="8074076"/>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34" name="bk object 134"/>
            <p:cNvSpPr/>
            <p:nvPr/>
          </p:nvSpPr>
          <p:spPr>
            <a:xfrm>
              <a:off x="14307349" y="6448305"/>
              <a:ext cx="57785" cy="57150"/>
            </a:xfrm>
            <a:custGeom>
              <a:avLst/>
              <a:gdLst/>
              <a:ahLst/>
              <a:cxnLst/>
              <a:rect l="l" t="t" r="r" b="b"/>
              <a:pathLst>
                <a:path w="57784" h="57150">
                  <a:moveTo>
                    <a:pt x="20827" y="0"/>
                  </a:moveTo>
                  <a:lnTo>
                    <a:pt x="9847" y="6218"/>
                  </a:lnTo>
                  <a:lnTo>
                    <a:pt x="2449" y="17617"/>
                  </a:lnTo>
                  <a:lnTo>
                    <a:pt x="0" y="33653"/>
                  </a:lnTo>
                  <a:lnTo>
                    <a:pt x="5649" y="45542"/>
                  </a:lnTo>
                  <a:lnTo>
                    <a:pt x="16529" y="53726"/>
                  </a:lnTo>
                  <a:lnTo>
                    <a:pt x="31642" y="56686"/>
                  </a:lnTo>
                  <a:lnTo>
                    <a:pt x="44719" y="51812"/>
                  </a:lnTo>
                  <a:lnTo>
                    <a:pt x="53868" y="41630"/>
                  </a:lnTo>
                  <a:lnTo>
                    <a:pt x="57313" y="27925"/>
                  </a:lnTo>
                  <a:lnTo>
                    <a:pt x="55883" y="19086"/>
                  </a:lnTo>
                  <a:lnTo>
                    <a:pt x="49253" y="8787"/>
                  </a:lnTo>
                  <a:lnTo>
                    <a:pt x="37475" y="1999"/>
                  </a:lnTo>
                  <a:lnTo>
                    <a:pt x="20827" y="0"/>
                  </a:lnTo>
                  <a:close/>
                </a:path>
              </a:pathLst>
            </a:custGeom>
            <a:solidFill>
              <a:srgbClr val="606060"/>
            </a:solidFill>
          </p:spPr>
          <p:txBody>
            <a:bodyPr wrap="square" lIns="0" tIns="0" rIns="0" bIns="0" rtlCol="0"/>
            <a:lstStyle/>
            <a:p>
              <a:endParaRPr sz="1350"/>
            </a:p>
          </p:txBody>
        </p:sp>
        <p:sp>
          <p:nvSpPr>
            <p:cNvPr id="135" name="bk object 135"/>
            <p:cNvSpPr/>
            <p:nvPr/>
          </p:nvSpPr>
          <p:spPr>
            <a:xfrm>
              <a:off x="14556068" y="6448307"/>
              <a:ext cx="57785" cy="57150"/>
            </a:xfrm>
            <a:custGeom>
              <a:avLst/>
              <a:gdLst/>
              <a:ahLst/>
              <a:cxnLst/>
              <a:rect l="l" t="t" r="r" b="b"/>
              <a:pathLst>
                <a:path w="57784" h="57150">
                  <a:moveTo>
                    <a:pt x="20832" y="0"/>
                  </a:moveTo>
                  <a:lnTo>
                    <a:pt x="9851" y="6219"/>
                  </a:lnTo>
                  <a:lnTo>
                    <a:pt x="2451" y="17618"/>
                  </a:lnTo>
                  <a:lnTo>
                    <a:pt x="0" y="33651"/>
                  </a:lnTo>
                  <a:lnTo>
                    <a:pt x="5652" y="45540"/>
                  </a:lnTo>
                  <a:lnTo>
                    <a:pt x="16534" y="53725"/>
                  </a:lnTo>
                  <a:lnTo>
                    <a:pt x="31642" y="56685"/>
                  </a:lnTo>
                  <a:lnTo>
                    <a:pt x="44716" y="51813"/>
                  </a:lnTo>
                  <a:lnTo>
                    <a:pt x="53867" y="41631"/>
                  </a:lnTo>
                  <a:lnTo>
                    <a:pt x="57313" y="27923"/>
                  </a:lnTo>
                  <a:lnTo>
                    <a:pt x="55883" y="19086"/>
                  </a:lnTo>
                  <a:lnTo>
                    <a:pt x="49254" y="8786"/>
                  </a:lnTo>
                  <a:lnTo>
                    <a:pt x="37478" y="1998"/>
                  </a:lnTo>
                  <a:lnTo>
                    <a:pt x="20832" y="0"/>
                  </a:lnTo>
                  <a:close/>
                </a:path>
              </a:pathLst>
            </a:custGeom>
            <a:solidFill>
              <a:srgbClr val="606060"/>
            </a:solidFill>
          </p:spPr>
          <p:txBody>
            <a:bodyPr wrap="square" lIns="0" tIns="0" rIns="0" bIns="0" rtlCol="0"/>
            <a:lstStyle/>
            <a:p>
              <a:endParaRPr sz="1350"/>
            </a:p>
          </p:txBody>
        </p:sp>
        <p:sp>
          <p:nvSpPr>
            <p:cNvPr id="136" name="bk object 136"/>
            <p:cNvSpPr/>
            <p:nvPr/>
          </p:nvSpPr>
          <p:spPr>
            <a:xfrm>
              <a:off x="14804790" y="6448305"/>
              <a:ext cx="57785" cy="57150"/>
            </a:xfrm>
            <a:custGeom>
              <a:avLst/>
              <a:gdLst/>
              <a:ahLst/>
              <a:cxnLst/>
              <a:rect l="l" t="t" r="r" b="b"/>
              <a:pathLst>
                <a:path w="57784" h="57150">
                  <a:moveTo>
                    <a:pt x="20832" y="0"/>
                  </a:moveTo>
                  <a:lnTo>
                    <a:pt x="9853" y="6217"/>
                  </a:lnTo>
                  <a:lnTo>
                    <a:pt x="2452" y="17617"/>
                  </a:lnTo>
                  <a:lnTo>
                    <a:pt x="0" y="33651"/>
                  </a:lnTo>
                  <a:lnTo>
                    <a:pt x="5652" y="45541"/>
                  </a:lnTo>
                  <a:lnTo>
                    <a:pt x="16533" y="53726"/>
                  </a:lnTo>
                  <a:lnTo>
                    <a:pt x="31639" y="56686"/>
                  </a:lnTo>
                  <a:lnTo>
                    <a:pt x="44713" y="51812"/>
                  </a:lnTo>
                  <a:lnTo>
                    <a:pt x="53865" y="41630"/>
                  </a:lnTo>
                  <a:lnTo>
                    <a:pt x="57313" y="27926"/>
                  </a:lnTo>
                  <a:lnTo>
                    <a:pt x="55883" y="19090"/>
                  </a:lnTo>
                  <a:lnTo>
                    <a:pt x="49251" y="8788"/>
                  </a:lnTo>
                  <a:lnTo>
                    <a:pt x="37473" y="1999"/>
                  </a:lnTo>
                  <a:lnTo>
                    <a:pt x="20832" y="0"/>
                  </a:lnTo>
                  <a:close/>
                </a:path>
              </a:pathLst>
            </a:custGeom>
            <a:solidFill>
              <a:srgbClr val="606060"/>
            </a:solidFill>
          </p:spPr>
          <p:txBody>
            <a:bodyPr wrap="square" lIns="0" tIns="0" rIns="0" bIns="0" rtlCol="0"/>
            <a:lstStyle/>
            <a:p>
              <a:endParaRPr sz="1350"/>
            </a:p>
          </p:txBody>
        </p:sp>
        <p:sp>
          <p:nvSpPr>
            <p:cNvPr id="137" name="bk object 137"/>
            <p:cNvSpPr/>
            <p:nvPr/>
          </p:nvSpPr>
          <p:spPr>
            <a:xfrm>
              <a:off x="15053513" y="6448305"/>
              <a:ext cx="57785" cy="57150"/>
            </a:xfrm>
            <a:custGeom>
              <a:avLst/>
              <a:gdLst/>
              <a:ahLst/>
              <a:cxnLst/>
              <a:rect l="l" t="t" r="r" b="b"/>
              <a:pathLst>
                <a:path w="57784" h="57150">
                  <a:moveTo>
                    <a:pt x="20829" y="0"/>
                  </a:moveTo>
                  <a:lnTo>
                    <a:pt x="9848" y="6217"/>
                  </a:lnTo>
                  <a:lnTo>
                    <a:pt x="2450" y="17617"/>
                  </a:lnTo>
                  <a:lnTo>
                    <a:pt x="0" y="33652"/>
                  </a:lnTo>
                  <a:lnTo>
                    <a:pt x="5648" y="45541"/>
                  </a:lnTo>
                  <a:lnTo>
                    <a:pt x="16528" y="53726"/>
                  </a:lnTo>
                  <a:lnTo>
                    <a:pt x="31640" y="56686"/>
                  </a:lnTo>
                  <a:lnTo>
                    <a:pt x="44713" y="51812"/>
                  </a:lnTo>
                  <a:lnTo>
                    <a:pt x="53866" y="41630"/>
                  </a:lnTo>
                  <a:lnTo>
                    <a:pt x="57313" y="27926"/>
                  </a:lnTo>
                  <a:lnTo>
                    <a:pt x="55882" y="19087"/>
                  </a:lnTo>
                  <a:lnTo>
                    <a:pt x="49250" y="8787"/>
                  </a:lnTo>
                  <a:lnTo>
                    <a:pt x="37471" y="1999"/>
                  </a:lnTo>
                  <a:lnTo>
                    <a:pt x="20829" y="0"/>
                  </a:lnTo>
                  <a:close/>
                </a:path>
              </a:pathLst>
            </a:custGeom>
            <a:solidFill>
              <a:srgbClr val="606060"/>
            </a:solidFill>
          </p:spPr>
          <p:txBody>
            <a:bodyPr wrap="square" lIns="0" tIns="0" rIns="0" bIns="0" rtlCol="0"/>
            <a:lstStyle/>
            <a:p>
              <a:endParaRPr sz="1350"/>
            </a:p>
          </p:txBody>
        </p:sp>
        <p:sp>
          <p:nvSpPr>
            <p:cNvPr id="138" name="bk object 138"/>
            <p:cNvSpPr/>
            <p:nvPr/>
          </p:nvSpPr>
          <p:spPr>
            <a:xfrm>
              <a:off x="14307346" y="6684177"/>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39" name="bk object 139"/>
            <p:cNvSpPr/>
            <p:nvPr/>
          </p:nvSpPr>
          <p:spPr>
            <a:xfrm>
              <a:off x="14556065" y="6684178"/>
              <a:ext cx="57785" cy="57150"/>
            </a:xfrm>
            <a:custGeom>
              <a:avLst/>
              <a:gdLst/>
              <a:ahLst/>
              <a:cxnLst/>
              <a:rect l="l" t="t" r="r" b="b"/>
              <a:pathLst>
                <a:path w="57784" h="57150">
                  <a:moveTo>
                    <a:pt x="20846" y="0"/>
                  </a:moveTo>
                  <a:lnTo>
                    <a:pt x="9859" y="6215"/>
                  </a:lnTo>
                  <a:lnTo>
                    <a:pt x="2454" y="17611"/>
                  </a:lnTo>
                  <a:lnTo>
                    <a:pt x="0" y="33638"/>
                  </a:lnTo>
                  <a:lnTo>
                    <a:pt x="5648" y="45530"/>
                  </a:lnTo>
                  <a:lnTo>
                    <a:pt x="16529" y="53716"/>
                  </a:lnTo>
                  <a:lnTo>
                    <a:pt x="31636" y="56677"/>
                  </a:lnTo>
                  <a:lnTo>
                    <a:pt x="44714" y="51811"/>
                  </a:lnTo>
                  <a:lnTo>
                    <a:pt x="53868" y="41634"/>
                  </a:lnTo>
                  <a:lnTo>
                    <a:pt x="57316" y="27927"/>
                  </a:lnTo>
                  <a:lnTo>
                    <a:pt x="55889" y="19097"/>
                  </a:lnTo>
                  <a:lnTo>
                    <a:pt x="49262" y="8793"/>
                  </a:lnTo>
                  <a:lnTo>
                    <a:pt x="37488" y="2001"/>
                  </a:lnTo>
                  <a:lnTo>
                    <a:pt x="20846" y="0"/>
                  </a:lnTo>
                  <a:close/>
                </a:path>
              </a:pathLst>
            </a:custGeom>
            <a:solidFill>
              <a:srgbClr val="606060"/>
            </a:solidFill>
          </p:spPr>
          <p:txBody>
            <a:bodyPr wrap="square" lIns="0" tIns="0" rIns="0" bIns="0" rtlCol="0"/>
            <a:lstStyle/>
            <a:p>
              <a:endParaRPr sz="1350"/>
            </a:p>
          </p:txBody>
        </p:sp>
        <p:sp>
          <p:nvSpPr>
            <p:cNvPr id="140" name="bk object 140"/>
            <p:cNvSpPr/>
            <p:nvPr/>
          </p:nvSpPr>
          <p:spPr>
            <a:xfrm>
              <a:off x="14804787" y="6684177"/>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41" name="bk object 141"/>
            <p:cNvSpPr/>
            <p:nvPr/>
          </p:nvSpPr>
          <p:spPr>
            <a:xfrm>
              <a:off x="15053510" y="6684176"/>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sp>
          <p:nvSpPr>
            <p:cNvPr id="142" name="bk object 142"/>
            <p:cNvSpPr/>
            <p:nvPr/>
          </p:nvSpPr>
          <p:spPr>
            <a:xfrm>
              <a:off x="14307349" y="6920054"/>
              <a:ext cx="57785" cy="57150"/>
            </a:xfrm>
            <a:custGeom>
              <a:avLst/>
              <a:gdLst/>
              <a:ahLst/>
              <a:cxnLst/>
              <a:rect l="l" t="t" r="r" b="b"/>
              <a:pathLst>
                <a:path w="57784" h="57150">
                  <a:moveTo>
                    <a:pt x="20827" y="0"/>
                  </a:moveTo>
                  <a:lnTo>
                    <a:pt x="9847" y="6221"/>
                  </a:lnTo>
                  <a:lnTo>
                    <a:pt x="2449" y="17622"/>
                  </a:lnTo>
                  <a:lnTo>
                    <a:pt x="0" y="33652"/>
                  </a:lnTo>
                  <a:lnTo>
                    <a:pt x="5649" y="45541"/>
                  </a:lnTo>
                  <a:lnTo>
                    <a:pt x="16529" y="53726"/>
                  </a:lnTo>
                  <a:lnTo>
                    <a:pt x="31642" y="56685"/>
                  </a:lnTo>
                  <a:lnTo>
                    <a:pt x="44719" y="51811"/>
                  </a:lnTo>
                  <a:lnTo>
                    <a:pt x="53868" y="41629"/>
                  </a:lnTo>
                  <a:lnTo>
                    <a:pt x="57313" y="27925"/>
                  </a:lnTo>
                  <a:lnTo>
                    <a:pt x="55883" y="19090"/>
                  </a:lnTo>
                  <a:lnTo>
                    <a:pt x="49253" y="8791"/>
                  </a:lnTo>
                  <a:lnTo>
                    <a:pt x="37475" y="2000"/>
                  </a:lnTo>
                  <a:lnTo>
                    <a:pt x="20827" y="0"/>
                  </a:lnTo>
                  <a:close/>
                </a:path>
              </a:pathLst>
            </a:custGeom>
            <a:solidFill>
              <a:srgbClr val="606060"/>
            </a:solidFill>
          </p:spPr>
          <p:txBody>
            <a:bodyPr wrap="square" lIns="0" tIns="0" rIns="0" bIns="0" rtlCol="0"/>
            <a:lstStyle/>
            <a:p>
              <a:endParaRPr sz="1350"/>
            </a:p>
          </p:txBody>
        </p:sp>
        <p:sp>
          <p:nvSpPr>
            <p:cNvPr id="143" name="bk object 143"/>
            <p:cNvSpPr/>
            <p:nvPr/>
          </p:nvSpPr>
          <p:spPr>
            <a:xfrm>
              <a:off x="14556068" y="6920056"/>
              <a:ext cx="57785" cy="57150"/>
            </a:xfrm>
            <a:custGeom>
              <a:avLst/>
              <a:gdLst/>
              <a:ahLst/>
              <a:cxnLst/>
              <a:rect l="l" t="t" r="r" b="b"/>
              <a:pathLst>
                <a:path w="57784" h="57150">
                  <a:moveTo>
                    <a:pt x="20832" y="0"/>
                  </a:moveTo>
                  <a:lnTo>
                    <a:pt x="9851" y="6222"/>
                  </a:lnTo>
                  <a:lnTo>
                    <a:pt x="2451" y="17623"/>
                  </a:lnTo>
                  <a:lnTo>
                    <a:pt x="0" y="33650"/>
                  </a:lnTo>
                  <a:lnTo>
                    <a:pt x="5652" y="45539"/>
                  </a:lnTo>
                  <a:lnTo>
                    <a:pt x="16534" y="53724"/>
                  </a:lnTo>
                  <a:lnTo>
                    <a:pt x="31642" y="56684"/>
                  </a:lnTo>
                  <a:lnTo>
                    <a:pt x="44716" y="51812"/>
                  </a:lnTo>
                  <a:lnTo>
                    <a:pt x="53867" y="41630"/>
                  </a:lnTo>
                  <a:lnTo>
                    <a:pt x="57313" y="27923"/>
                  </a:lnTo>
                  <a:lnTo>
                    <a:pt x="55883" y="19090"/>
                  </a:lnTo>
                  <a:lnTo>
                    <a:pt x="49254" y="8790"/>
                  </a:lnTo>
                  <a:lnTo>
                    <a:pt x="37477" y="1999"/>
                  </a:lnTo>
                  <a:lnTo>
                    <a:pt x="20832" y="0"/>
                  </a:lnTo>
                  <a:close/>
                </a:path>
              </a:pathLst>
            </a:custGeom>
            <a:solidFill>
              <a:srgbClr val="606060"/>
            </a:solidFill>
          </p:spPr>
          <p:txBody>
            <a:bodyPr wrap="square" lIns="0" tIns="0" rIns="0" bIns="0" rtlCol="0"/>
            <a:lstStyle/>
            <a:p>
              <a:endParaRPr sz="1350"/>
            </a:p>
          </p:txBody>
        </p:sp>
        <p:sp>
          <p:nvSpPr>
            <p:cNvPr id="144" name="bk object 144"/>
            <p:cNvSpPr/>
            <p:nvPr/>
          </p:nvSpPr>
          <p:spPr>
            <a:xfrm>
              <a:off x="14804790" y="6920054"/>
              <a:ext cx="57785" cy="57150"/>
            </a:xfrm>
            <a:custGeom>
              <a:avLst/>
              <a:gdLst/>
              <a:ahLst/>
              <a:cxnLst/>
              <a:rect l="l" t="t" r="r" b="b"/>
              <a:pathLst>
                <a:path w="57784" h="57150">
                  <a:moveTo>
                    <a:pt x="20832" y="0"/>
                  </a:moveTo>
                  <a:lnTo>
                    <a:pt x="9853" y="6221"/>
                  </a:lnTo>
                  <a:lnTo>
                    <a:pt x="2452" y="17621"/>
                  </a:lnTo>
                  <a:lnTo>
                    <a:pt x="0" y="33651"/>
                  </a:lnTo>
                  <a:lnTo>
                    <a:pt x="5652" y="45540"/>
                  </a:lnTo>
                  <a:lnTo>
                    <a:pt x="16533" y="53726"/>
                  </a:lnTo>
                  <a:lnTo>
                    <a:pt x="31639" y="56685"/>
                  </a:lnTo>
                  <a:lnTo>
                    <a:pt x="44713" y="51811"/>
                  </a:lnTo>
                  <a:lnTo>
                    <a:pt x="53865" y="41629"/>
                  </a:lnTo>
                  <a:lnTo>
                    <a:pt x="57313" y="27925"/>
                  </a:lnTo>
                  <a:lnTo>
                    <a:pt x="55883" y="19093"/>
                  </a:lnTo>
                  <a:lnTo>
                    <a:pt x="49250" y="8793"/>
                  </a:lnTo>
                  <a:lnTo>
                    <a:pt x="37473" y="2001"/>
                  </a:lnTo>
                  <a:lnTo>
                    <a:pt x="20832" y="0"/>
                  </a:lnTo>
                  <a:close/>
                </a:path>
              </a:pathLst>
            </a:custGeom>
            <a:solidFill>
              <a:srgbClr val="606060"/>
            </a:solidFill>
          </p:spPr>
          <p:txBody>
            <a:bodyPr wrap="square" lIns="0" tIns="0" rIns="0" bIns="0" rtlCol="0"/>
            <a:lstStyle/>
            <a:p>
              <a:endParaRPr sz="1350"/>
            </a:p>
          </p:txBody>
        </p:sp>
        <p:sp>
          <p:nvSpPr>
            <p:cNvPr id="145" name="bk object 145"/>
            <p:cNvSpPr/>
            <p:nvPr/>
          </p:nvSpPr>
          <p:spPr>
            <a:xfrm>
              <a:off x="15053513" y="6920054"/>
              <a:ext cx="57785" cy="57150"/>
            </a:xfrm>
            <a:custGeom>
              <a:avLst/>
              <a:gdLst/>
              <a:ahLst/>
              <a:cxnLst/>
              <a:rect l="l" t="t" r="r" b="b"/>
              <a:pathLst>
                <a:path w="57784" h="57150">
                  <a:moveTo>
                    <a:pt x="20829" y="0"/>
                  </a:moveTo>
                  <a:lnTo>
                    <a:pt x="9848" y="6221"/>
                  </a:lnTo>
                  <a:lnTo>
                    <a:pt x="2450" y="17621"/>
                  </a:lnTo>
                  <a:lnTo>
                    <a:pt x="0" y="33651"/>
                  </a:lnTo>
                  <a:lnTo>
                    <a:pt x="5648" y="45540"/>
                  </a:lnTo>
                  <a:lnTo>
                    <a:pt x="16528" y="53726"/>
                  </a:lnTo>
                  <a:lnTo>
                    <a:pt x="31640" y="56685"/>
                  </a:lnTo>
                  <a:lnTo>
                    <a:pt x="44713" y="51811"/>
                  </a:lnTo>
                  <a:lnTo>
                    <a:pt x="53866" y="41629"/>
                  </a:lnTo>
                  <a:lnTo>
                    <a:pt x="57313" y="27925"/>
                  </a:lnTo>
                  <a:lnTo>
                    <a:pt x="55882" y="19091"/>
                  </a:lnTo>
                  <a:lnTo>
                    <a:pt x="49249" y="8791"/>
                  </a:lnTo>
                  <a:lnTo>
                    <a:pt x="37471" y="2000"/>
                  </a:lnTo>
                  <a:lnTo>
                    <a:pt x="20829" y="0"/>
                  </a:lnTo>
                  <a:close/>
                </a:path>
              </a:pathLst>
            </a:custGeom>
            <a:solidFill>
              <a:srgbClr val="606060"/>
            </a:solidFill>
          </p:spPr>
          <p:txBody>
            <a:bodyPr wrap="square" lIns="0" tIns="0" rIns="0" bIns="0" rtlCol="0"/>
            <a:lstStyle/>
            <a:p>
              <a:endParaRPr sz="1350"/>
            </a:p>
          </p:txBody>
        </p:sp>
        <p:sp>
          <p:nvSpPr>
            <p:cNvPr id="146" name="bk object 146"/>
            <p:cNvSpPr/>
            <p:nvPr/>
          </p:nvSpPr>
          <p:spPr>
            <a:xfrm>
              <a:off x="14307346" y="7155929"/>
              <a:ext cx="57785" cy="57150"/>
            </a:xfrm>
            <a:custGeom>
              <a:avLst/>
              <a:gdLst/>
              <a:ahLst/>
              <a:cxnLst/>
              <a:rect l="l" t="t" r="r" b="b"/>
              <a:pathLst>
                <a:path w="57784" h="57150">
                  <a:moveTo>
                    <a:pt x="20842" y="0"/>
                  </a:moveTo>
                  <a:lnTo>
                    <a:pt x="9856" y="6214"/>
                  </a:lnTo>
                  <a:lnTo>
                    <a:pt x="2453" y="17610"/>
                  </a:lnTo>
                  <a:lnTo>
                    <a:pt x="0" y="33640"/>
                  </a:lnTo>
                  <a:lnTo>
                    <a:pt x="5645" y="45532"/>
                  </a:lnTo>
                  <a:lnTo>
                    <a:pt x="16523" y="53718"/>
                  </a:lnTo>
                  <a:lnTo>
                    <a:pt x="31635" y="56677"/>
                  </a:lnTo>
                  <a:lnTo>
                    <a:pt x="44717" y="51810"/>
                  </a:lnTo>
                  <a:lnTo>
                    <a:pt x="53870" y="41633"/>
                  </a:lnTo>
                  <a:lnTo>
                    <a:pt x="57316" y="27929"/>
                  </a:lnTo>
                  <a:lnTo>
                    <a:pt x="55889" y="19097"/>
                  </a:lnTo>
                  <a:lnTo>
                    <a:pt x="49261" y="8794"/>
                  </a:lnTo>
                  <a:lnTo>
                    <a:pt x="37486" y="2002"/>
                  </a:lnTo>
                  <a:lnTo>
                    <a:pt x="20842" y="0"/>
                  </a:lnTo>
                  <a:close/>
                </a:path>
              </a:pathLst>
            </a:custGeom>
            <a:solidFill>
              <a:srgbClr val="606060"/>
            </a:solidFill>
          </p:spPr>
          <p:txBody>
            <a:bodyPr wrap="square" lIns="0" tIns="0" rIns="0" bIns="0" rtlCol="0"/>
            <a:lstStyle/>
            <a:p>
              <a:endParaRPr sz="1350"/>
            </a:p>
          </p:txBody>
        </p:sp>
        <p:sp>
          <p:nvSpPr>
            <p:cNvPr id="147" name="bk object 147"/>
            <p:cNvSpPr/>
            <p:nvPr/>
          </p:nvSpPr>
          <p:spPr>
            <a:xfrm>
              <a:off x="14556065" y="7155932"/>
              <a:ext cx="57785" cy="57150"/>
            </a:xfrm>
            <a:custGeom>
              <a:avLst/>
              <a:gdLst/>
              <a:ahLst/>
              <a:cxnLst/>
              <a:rect l="l" t="t" r="r" b="b"/>
              <a:pathLst>
                <a:path w="57784" h="57150">
                  <a:moveTo>
                    <a:pt x="20846" y="0"/>
                  </a:moveTo>
                  <a:lnTo>
                    <a:pt x="9859" y="6215"/>
                  </a:lnTo>
                  <a:lnTo>
                    <a:pt x="2454" y="17611"/>
                  </a:lnTo>
                  <a:lnTo>
                    <a:pt x="0" y="33638"/>
                  </a:lnTo>
                  <a:lnTo>
                    <a:pt x="5648" y="45530"/>
                  </a:lnTo>
                  <a:lnTo>
                    <a:pt x="16529" y="53716"/>
                  </a:lnTo>
                  <a:lnTo>
                    <a:pt x="31636" y="56677"/>
                  </a:lnTo>
                  <a:lnTo>
                    <a:pt x="44714" y="51811"/>
                  </a:lnTo>
                  <a:lnTo>
                    <a:pt x="53868" y="41634"/>
                  </a:lnTo>
                  <a:lnTo>
                    <a:pt x="57316" y="27927"/>
                  </a:lnTo>
                  <a:lnTo>
                    <a:pt x="55889" y="19097"/>
                  </a:lnTo>
                  <a:lnTo>
                    <a:pt x="49262" y="8793"/>
                  </a:lnTo>
                  <a:lnTo>
                    <a:pt x="37488" y="2001"/>
                  </a:lnTo>
                  <a:lnTo>
                    <a:pt x="20846" y="0"/>
                  </a:lnTo>
                  <a:close/>
                </a:path>
              </a:pathLst>
            </a:custGeom>
            <a:solidFill>
              <a:srgbClr val="606060"/>
            </a:solidFill>
          </p:spPr>
          <p:txBody>
            <a:bodyPr wrap="square" lIns="0" tIns="0" rIns="0" bIns="0" rtlCol="0"/>
            <a:lstStyle/>
            <a:p>
              <a:endParaRPr sz="1350"/>
            </a:p>
          </p:txBody>
        </p:sp>
        <p:sp>
          <p:nvSpPr>
            <p:cNvPr id="148" name="bk object 148"/>
            <p:cNvSpPr/>
            <p:nvPr/>
          </p:nvSpPr>
          <p:spPr>
            <a:xfrm>
              <a:off x="14804787" y="7155929"/>
              <a:ext cx="57785" cy="57150"/>
            </a:xfrm>
            <a:custGeom>
              <a:avLst/>
              <a:gdLst/>
              <a:ahLst/>
              <a:cxnLst/>
              <a:rect l="l" t="t" r="r" b="b"/>
              <a:pathLst>
                <a:path w="57784" h="57150">
                  <a:moveTo>
                    <a:pt x="20847" y="0"/>
                  </a:moveTo>
                  <a:lnTo>
                    <a:pt x="9861" y="6214"/>
                  </a:lnTo>
                  <a:lnTo>
                    <a:pt x="2455" y="17610"/>
                  </a:lnTo>
                  <a:lnTo>
                    <a:pt x="0" y="33639"/>
                  </a:lnTo>
                  <a:lnTo>
                    <a:pt x="5648" y="45532"/>
                  </a:lnTo>
                  <a:lnTo>
                    <a:pt x="16527" y="53718"/>
                  </a:lnTo>
                  <a:lnTo>
                    <a:pt x="31633" y="56678"/>
                  </a:lnTo>
                  <a:lnTo>
                    <a:pt x="44711" y="51810"/>
                  </a:lnTo>
                  <a:lnTo>
                    <a:pt x="53867" y="41633"/>
                  </a:lnTo>
                  <a:lnTo>
                    <a:pt x="57316" y="27929"/>
                  </a:lnTo>
                  <a:lnTo>
                    <a:pt x="55889" y="19101"/>
                  </a:lnTo>
                  <a:lnTo>
                    <a:pt x="49259" y="8795"/>
                  </a:lnTo>
                  <a:lnTo>
                    <a:pt x="37484" y="2002"/>
                  </a:lnTo>
                  <a:lnTo>
                    <a:pt x="20847" y="0"/>
                  </a:lnTo>
                  <a:close/>
                </a:path>
              </a:pathLst>
            </a:custGeom>
            <a:solidFill>
              <a:srgbClr val="606060"/>
            </a:solidFill>
          </p:spPr>
          <p:txBody>
            <a:bodyPr wrap="square" lIns="0" tIns="0" rIns="0" bIns="0" rtlCol="0"/>
            <a:lstStyle/>
            <a:p>
              <a:endParaRPr sz="1350"/>
            </a:p>
          </p:txBody>
        </p:sp>
        <p:sp>
          <p:nvSpPr>
            <p:cNvPr id="149" name="bk object 149"/>
            <p:cNvSpPr/>
            <p:nvPr/>
          </p:nvSpPr>
          <p:spPr>
            <a:xfrm>
              <a:off x="15053510" y="7155929"/>
              <a:ext cx="57785" cy="57150"/>
            </a:xfrm>
            <a:custGeom>
              <a:avLst/>
              <a:gdLst/>
              <a:ahLst/>
              <a:cxnLst/>
              <a:rect l="l" t="t" r="r" b="b"/>
              <a:pathLst>
                <a:path w="57784" h="57150">
                  <a:moveTo>
                    <a:pt x="20843" y="0"/>
                  </a:moveTo>
                  <a:lnTo>
                    <a:pt x="9857" y="6214"/>
                  </a:lnTo>
                  <a:lnTo>
                    <a:pt x="2453" y="17610"/>
                  </a:lnTo>
                  <a:lnTo>
                    <a:pt x="0" y="33639"/>
                  </a:lnTo>
                  <a:lnTo>
                    <a:pt x="5644" y="45532"/>
                  </a:lnTo>
                  <a:lnTo>
                    <a:pt x="16522" y="53718"/>
                  </a:lnTo>
                  <a:lnTo>
                    <a:pt x="31633" y="56678"/>
                  </a:lnTo>
                  <a:lnTo>
                    <a:pt x="44711" y="51810"/>
                  </a:lnTo>
                  <a:lnTo>
                    <a:pt x="53868" y="41633"/>
                  </a:lnTo>
                  <a:lnTo>
                    <a:pt x="57316" y="27929"/>
                  </a:lnTo>
                  <a:lnTo>
                    <a:pt x="55888" y="19098"/>
                  </a:lnTo>
                  <a:lnTo>
                    <a:pt x="49258" y="8794"/>
                  </a:lnTo>
                  <a:lnTo>
                    <a:pt x="37482" y="2002"/>
                  </a:lnTo>
                  <a:lnTo>
                    <a:pt x="20843" y="0"/>
                  </a:lnTo>
                  <a:close/>
                </a:path>
              </a:pathLst>
            </a:custGeom>
            <a:solidFill>
              <a:srgbClr val="606060"/>
            </a:solidFill>
          </p:spPr>
          <p:txBody>
            <a:bodyPr wrap="square" lIns="0" tIns="0" rIns="0" bIns="0" rtlCol="0"/>
            <a:lstStyle/>
            <a:p>
              <a:endParaRPr sz="1350"/>
            </a:p>
          </p:txBody>
        </p:sp>
      </p:grpSp>
      <p:sp>
        <p:nvSpPr>
          <p:cNvPr id="150" name="bk object 150"/>
          <p:cNvSpPr/>
          <p:nvPr/>
        </p:nvSpPr>
        <p:spPr>
          <a:xfrm>
            <a:off x="1782623" y="1448"/>
            <a:ext cx="4591050" cy="1885951"/>
          </a:xfrm>
          <a:prstGeom prst="rect">
            <a:avLst/>
          </a:prstGeom>
          <a:blipFill dpi="0" rotWithShape="1">
            <a:blip r:embed="rId5" cstate="print">
              <a:alphaModFix amt="20000"/>
            </a:blip>
            <a:srcRect/>
            <a:stretch>
              <a:fillRect/>
            </a:stretch>
          </a:blipFill>
        </p:spPr>
        <p:txBody>
          <a:bodyPr wrap="square" lIns="0" tIns="0" rIns="0" bIns="0" rtlCol="0"/>
          <a:lstStyle/>
          <a:p>
            <a:endParaRPr sz="1350"/>
          </a:p>
        </p:txBody>
      </p:sp>
      <p:sp>
        <p:nvSpPr>
          <p:cNvPr id="151" name="bk object 151"/>
          <p:cNvSpPr/>
          <p:nvPr/>
        </p:nvSpPr>
        <p:spPr>
          <a:xfrm>
            <a:off x="2155360" y="1447"/>
            <a:ext cx="2286476" cy="1395413"/>
          </a:xfrm>
          <a:custGeom>
            <a:avLst/>
            <a:gdLst/>
            <a:ahLst/>
            <a:cxnLst/>
            <a:rect l="l" t="t" r="r" b="b"/>
            <a:pathLst>
              <a:path w="3048635" h="1860550">
                <a:moveTo>
                  <a:pt x="3048013" y="0"/>
                </a:moveTo>
                <a:lnTo>
                  <a:pt x="672389" y="0"/>
                </a:lnTo>
                <a:lnTo>
                  <a:pt x="244982" y="427406"/>
                </a:lnTo>
                <a:lnTo>
                  <a:pt x="198436" y="477909"/>
                </a:lnTo>
                <a:lnTo>
                  <a:pt x="156789" y="531219"/>
                </a:lnTo>
                <a:lnTo>
                  <a:pt x="120041" y="587024"/>
                </a:lnTo>
                <a:lnTo>
                  <a:pt x="88193" y="645011"/>
                </a:lnTo>
                <a:lnTo>
                  <a:pt x="61245" y="704869"/>
                </a:lnTo>
                <a:lnTo>
                  <a:pt x="39197" y="766286"/>
                </a:lnTo>
                <a:lnTo>
                  <a:pt x="22048" y="828951"/>
                </a:lnTo>
                <a:lnTo>
                  <a:pt x="9799" y="892551"/>
                </a:lnTo>
                <a:lnTo>
                  <a:pt x="2449" y="956774"/>
                </a:lnTo>
                <a:lnTo>
                  <a:pt x="0" y="1021310"/>
                </a:lnTo>
                <a:lnTo>
                  <a:pt x="2449" y="1085846"/>
                </a:lnTo>
                <a:lnTo>
                  <a:pt x="9799" y="1150070"/>
                </a:lnTo>
                <a:lnTo>
                  <a:pt x="22048" y="1213670"/>
                </a:lnTo>
                <a:lnTo>
                  <a:pt x="39197" y="1276335"/>
                </a:lnTo>
                <a:lnTo>
                  <a:pt x="61245" y="1337753"/>
                </a:lnTo>
                <a:lnTo>
                  <a:pt x="88193" y="1397612"/>
                </a:lnTo>
                <a:lnTo>
                  <a:pt x="120041" y="1455601"/>
                </a:lnTo>
                <a:lnTo>
                  <a:pt x="156789" y="1511407"/>
                </a:lnTo>
                <a:lnTo>
                  <a:pt x="198436" y="1564718"/>
                </a:lnTo>
                <a:lnTo>
                  <a:pt x="244982" y="1615224"/>
                </a:lnTo>
                <a:lnTo>
                  <a:pt x="295486" y="1661771"/>
                </a:lnTo>
                <a:lnTo>
                  <a:pt x="348797" y="1703418"/>
                </a:lnTo>
                <a:lnTo>
                  <a:pt x="404601" y="1740165"/>
                </a:lnTo>
                <a:lnTo>
                  <a:pt x="462589" y="1772013"/>
                </a:lnTo>
                <a:lnTo>
                  <a:pt x="522448" y="1798961"/>
                </a:lnTo>
                <a:lnTo>
                  <a:pt x="583866" y="1821010"/>
                </a:lnTo>
                <a:lnTo>
                  <a:pt x="646531" y="1838158"/>
                </a:lnTo>
                <a:lnTo>
                  <a:pt x="710131" y="1850408"/>
                </a:lnTo>
                <a:lnTo>
                  <a:pt x="774356" y="1857757"/>
                </a:lnTo>
                <a:lnTo>
                  <a:pt x="838892" y="1860207"/>
                </a:lnTo>
                <a:lnTo>
                  <a:pt x="903428" y="1857757"/>
                </a:lnTo>
                <a:lnTo>
                  <a:pt x="967652" y="1850408"/>
                </a:lnTo>
                <a:lnTo>
                  <a:pt x="1031253" y="1838158"/>
                </a:lnTo>
                <a:lnTo>
                  <a:pt x="1093918" y="1821010"/>
                </a:lnTo>
                <a:lnTo>
                  <a:pt x="1155336" y="1798961"/>
                </a:lnTo>
                <a:lnTo>
                  <a:pt x="1215194" y="1772013"/>
                </a:lnTo>
                <a:lnTo>
                  <a:pt x="1273182" y="1740165"/>
                </a:lnTo>
                <a:lnTo>
                  <a:pt x="1328987" y="1703418"/>
                </a:lnTo>
                <a:lnTo>
                  <a:pt x="1382297" y="1661771"/>
                </a:lnTo>
                <a:lnTo>
                  <a:pt x="1432801" y="1615224"/>
                </a:lnTo>
                <a:lnTo>
                  <a:pt x="3048013" y="0"/>
                </a:lnTo>
                <a:close/>
              </a:path>
            </a:pathLst>
          </a:custGeom>
          <a:solidFill>
            <a:srgbClr val="FFFFFF"/>
          </a:solidFill>
        </p:spPr>
        <p:txBody>
          <a:bodyPr wrap="square" lIns="0" tIns="0" rIns="0" bIns="0" rtlCol="0"/>
          <a:lstStyle/>
          <a:p>
            <a:endParaRPr sz="1350"/>
          </a:p>
        </p:txBody>
      </p:sp>
      <p:sp>
        <p:nvSpPr>
          <p:cNvPr id="152" name="bk object 152"/>
          <p:cNvSpPr/>
          <p:nvPr/>
        </p:nvSpPr>
        <p:spPr>
          <a:xfrm>
            <a:off x="10321711" y="872912"/>
            <a:ext cx="1867193" cy="3219450"/>
          </a:xfrm>
          <a:prstGeom prst="rect">
            <a:avLst/>
          </a:prstGeom>
          <a:blipFill dpi="0" rotWithShape="1">
            <a:blip r:embed="rId6" cstate="print">
              <a:alphaModFix amt="20000"/>
            </a:blip>
            <a:srcRect/>
            <a:stretch>
              <a:fillRect/>
            </a:stretch>
          </a:blipFill>
        </p:spPr>
        <p:txBody>
          <a:bodyPr wrap="square" lIns="0" tIns="0" rIns="0" bIns="0" rtlCol="0"/>
          <a:lstStyle/>
          <a:p>
            <a:endParaRPr sz="1350"/>
          </a:p>
        </p:txBody>
      </p:sp>
      <p:sp>
        <p:nvSpPr>
          <p:cNvPr id="153" name="bk object 153"/>
          <p:cNvSpPr/>
          <p:nvPr/>
        </p:nvSpPr>
        <p:spPr>
          <a:xfrm>
            <a:off x="10590547" y="1522191"/>
            <a:ext cx="1598771" cy="2222183"/>
          </a:xfrm>
          <a:custGeom>
            <a:avLst/>
            <a:gdLst/>
            <a:ahLst/>
            <a:cxnLst/>
            <a:rect l="l" t="t" r="r" b="b"/>
            <a:pathLst>
              <a:path w="2131694" h="2962910">
                <a:moveTo>
                  <a:pt x="2131142" y="0"/>
                </a:moveTo>
                <a:lnTo>
                  <a:pt x="171535" y="1959617"/>
                </a:lnTo>
                <a:lnTo>
                  <a:pt x="138943" y="1994978"/>
                </a:lnTo>
                <a:lnTo>
                  <a:pt x="109782" y="2032303"/>
                </a:lnTo>
                <a:lnTo>
                  <a:pt x="84052" y="2071375"/>
                </a:lnTo>
                <a:lnTo>
                  <a:pt x="61752" y="2111976"/>
                </a:lnTo>
                <a:lnTo>
                  <a:pt x="42883" y="2153887"/>
                </a:lnTo>
                <a:lnTo>
                  <a:pt x="27445" y="2196889"/>
                </a:lnTo>
                <a:lnTo>
                  <a:pt x="15438" y="2240764"/>
                </a:lnTo>
                <a:lnTo>
                  <a:pt x="6861" y="2285295"/>
                </a:lnTo>
                <a:lnTo>
                  <a:pt x="1715" y="2330263"/>
                </a:lnTo>
                <a:lnTo>
                  <a:pt x="0" y="2375449"/>
                </a:lnTo>
                <a:lnTo>
                  <a:pt x="1715" y="2420635"/>
                </a:lnTo>
                <a:lnTo>
                  <a:pt x="6861" y="2465602"/>
                </a:lnTo>
                <a:lnTo>
                  <a:pt x="15438" y="2510133"/>
                </a:lnTo>
                <a:lnTo>
                  <a:pt x="27445" y="2554010"/>
                </a:lnTo>
                <a:lnTo>
                  <a:pt x="42883" y="2597013"/>
                </a:lnTo>
                <a:lnTo>
                  <a:pt x="61752" y="2638925"/>
                </a:lnTo>
                <a:lnTo>
                  <a:pt x="84052" y="2679526"/>
                </a:lnTo>
                <a:lnTo>
                  <a:pt x="109782" y="2718600"/>
                </a:lnTo>
                <a:lnTo>
                  <a:pt x="138943" y="2755927"/>
                </a:lnTo>
                <a:lnTo>
                  <a:pt x="171535" y="2791289"/>
                </a:lnTo>
                <a:lnTo>
                  <a:pt x="206896" y="2823881"/>
                </a:lnTo>
                <a:lnTo>
                  <a:pt x="244222" y="2853042"/>
                </a:lnTo>
                <a:lnTo>
                  <a:pt x="283294" y="2878773"/>
                </a:lnTo>
                <a:lnTo>
                  <a:pt x="323895" y="2901072"/>
                </a:lnTo>
                <a:lnTo>
                  <a:pt x="365806" y="2919941"/>
                </a:lnTo>
                <a:lnTo>
                  <a:pt x="408809" y="2935379"/>
                </a:lnTo>
                <a:lnTo>
                  <a:pt x="452686" y="2947387"/>
                </a:lnTo>
                <a:lnTo>
                  <a:pt x="497217" y="2955964"/>
                </a:lnTo>
                <a:lnTo>
                  <a:pt x="542185" y="2961110"/>
                </a:lnTo>
                <a:lnTo>
                  <a:pt x="587371" y="2962825"/>
                </a:lnTo>
                <a:lnTo>
                  <a:pt x="632558" y="2961110"/>
                </a:lnTo>
                <a:lnTo>
                  <a:pt x="677526" y="2955964"/>
                </a:lnTo>
                <a:lnTo>
                  <a:pt x="722057" y="2947387"/>
                </a:lnTo>
                <a:lnTo>
                  <a:pt x="765933" y="2935379"/>
                </a:lnTo>
                <a:lnTo>
                  <a:pt x="808936" y="2919941"/>
                </a:lnTo>
                <a:lnTo>
                  <a:pt x="850847" y="2901072"/>
                </a:lnTo>
                <a:lnTo>
                  <a:pt x="891448" y="2878773"/>
                </a:lnTo>
                <a:lnTo>
                  <a:pt x="930521" y="2853042"/>
                </a:lnTo>
                <a:lnTo>
                  <a:pt x="967847" y="2823881"/>
                </a:lnTo>
                <a:lnTo>
                  <a:pt x="1003207" y="2791289"/>
                </a:lnTo>
                <a:lnTo>
                  <a:pt x="2131142" y="1663355"/>
                </a:lnTo>
                <a:lnTo>
                  <a:pt x="2131142" y="0"/>
                </a:lnTo>
                <a:close/>
              </a:path>
            </a:pathLst>
          </a:custGeom>
          <a:solidFill>
            <a:srgbClr val="FFFFFF"/>
          </a:solidFill>
        </p:spPr>
        <p:txBody>
          <a:bodyPr wrap="square" lIns="0" tIns="0" rIns="0" bIns="0" rtlCol="0"/>
          <a:lstStyle/>
          <a:p>
            <a:endParaRPr sz="1350"/>
          </a:p>
        </p:txBody>
      </p:sp>
      <p:sp>
        <p:nvSpPr>
          <p:cNvPr id="154" name="bk object 154"/>
          <p:cNvSpPr/>
          <p:nvPr/>
        </p:nvSpPr>
        <p:spPr>
          <a:xfrm>
            <a:off x="0" y="4232386"/>
            <a:ext cx="2289285" cy="2625614"/>
          </a:xfrm>
          <a:prstGeom prst="rect">
            <a:avLst/>
          </a:prstGeom>
          <a:blipFill dpi="0" rotWithShape="1">
            <a:blip r:embed="rId7" cstate="print">
              <a:alphaModFix amt="20000"/>
            </a:blip>
            <a:srcRect/>
            <a:stretch>
              <a:fillRect/>
            </a:stretch>
          </a:blipFill>
        </p:spPr>
        <p:txBody>
          <a:bodyPr wrap="square" lIns="0" tIns="0" rIns="0" bIns="0" rtlCol="0"/>
          <a:lstStyle/>
          <a:p>
            <a:endParaRPr sz="1350"/>
          </a:p>
        </p:txBody>
      </p:sp>
      <p:sp>
        <p:nvSpPr>
          <p:cNvPr id="155" name="bk object 155"/>
          <p:cNvSpPr/>
          <p:nvPr/>
        </p:nvSpPr>
        <p:spPr>
          <a:xfrm>
            <a:off x="1" y="4595387"/>
            <a:ext cx="1812131" cy="2262664"/>
          </a:xfrm>
          <a:custGeom>
            <a:avLst/>
            <a:gdLst/>
            <a:ahLst/>
            <a:cxnLst/>
            <a:rect l="l" t="t" r="r" b="b"/>
            <a:pathLst>
              <a:path w="2416175" h="3016884">
                <a:moveTo>
                  <a:pt x="1598944" y="0"/>
                </a:moveTo>
                <a:lnTo>
                  <a:pt x="1536119" y="2384"/>
                </a:lnTo>
                <a:lnTo>
                  <a:pt x="1473597" y="9539"/>
                </a:lnTo>
                <a:lnTo>
                  <a:pt x="1411683" y="21463"/>
                </a:lnTo>
                <a:lnTo>
                  <a:pt x="1350680" y="38157"/>
                </a:lnTo>
                <a:lnTo>
                  <a:pt x="1290890" y="59621"/>
                </a:lnTo>
                <a:lnTo>
                  <a:pt x="1232619" y="85855"/>
                </a:lnTo>
                <a:lnTo>
                  <a:pt x="1176169" y="116858"/>
                </a:lnTo>
                <a:lnTo>
                  <a:pt x="1121844" y="152631"/>
                </a:lnTo>
                <a:lnTo>
                  <a:pt x="1069947" y="193174"/>
                </a:lnTo>
                <a:lnTo>
                  <a:pt x="1020782" y="238486"/>
                </a:lnTo>
                <a:lnTo>
                  <a:pt x="0" y="1259273"/>
                </a:lnTo>
                <a:lnTo>
                  <a:pt x="0" y="3016817"/>
                </a:lnTo>
                <a:lnTo>
                  <a:pt x="555109" y="3016817"/>
                </a:lnTo>
                <a:lnTo>
                  <a:pt x="2177105" y="1394821"/>
                </a:lnTo>
                <a:lnTo>
                  <a:pt x="2222419" y="1345655"/>
                </a:lnTo>
                <a:lnTo>
                  <a:pt x="2262963" y="1293757"/>
                </a:lnTo>
                <a:lnTo>
                  <a:pt x="2298738" y="1239431"/>
                </a:lnTo>
                <a:lnTo>
                  <a:pt x="2329742" y="1182980"/>
                </a:lnTo>
                <a:lnTo>
                  <a:pt x="2355977" y="1124708"/>
                </a:lnTo>
                <a:lnTo>
                  <a:pt x="2377442" y="1064918"/>
                </a:lnTo>
                <a:lnTo>
                  <a:pt x="2394137" y="1003915"/>
                </a:lnTo>
                <a:lnTo>
                  <a:pt x="2406061" y="942000"/>
                </a:lnTo>
                <a:lnTo>
                  <a:pt x="2413216" y="879479"/>
                </a:lnTo>
                <a:lnTo>
                  <a:pt x="2415601" y="816654"/>
                </a:lnTo>
                <a:lnTo>
                  <a:pt x="2413216" y="753829"/>
                </a:lnTo>
                <a:lnTo>
                  <a:pt x="2406061" y="691308"/>
                </a:lnTo>
                <a:lnTo>
                  <a:pt x="2394137" y="629393"/>
                </a:lnTo>
                <a:lnTo>
                  <a:pt x="2377442" y="568390"/>
                </a:lnTo>
                <a:lnTo>
                  <a:pt x="2355977" y="508600"/>
                </a:lnTo>
                <a:lnTo>
                  <a:pt x="2329742" y="450328"/>
                </a:lnTo>
                <a:lnTo>
                  <a:pt x="2298738" y="393877"/>
                </a:lnTo>
                <a:lnTo>
                  <a:pt x="2262963" y="339551"/>
                </a:lnTo>
                <a:lnTo>
                  <a:pt x="2222419" y="287653"/>
                </a:lnTo>
                <a:lnTo>
                  <a:pt x="2177105" y="238486"/>
                </a:lnTo>
                <a:lnTo>
                  <a:pt x="2127940" y="193174"/>
                </a:lnTo>
                <a:lnTo>
                  <a:pt x="2076043" y="152631"/>
                </a:lnTo>
                <a:lnTo>
                  <a:pt x="2021718" y="116858"/>
                </a:lnTo>
                <a:lnTo>
                  <a:pt x="1965268" y="85855"/>
                </a:lnTo>
                <a:lnTo>
                  <a:pt x="1906997" y="59621"/>
                </a:lnTo>
                <a:lnTo>
                  <a:pt x="1847207" y="38157"/>
                </a:lnTo>
                <a:lnTo>
                  <a:pt x="1786204" y="21463"/>
                </a:lnTo>
                <a:lnTo>
                  <a:pt x="1724290" y="9539"/>
                </a:lnTo>
                <a:lnTo>
                  <a:pt x="1661768" y="2384"/>
                </a:lnTo>
                <a:lnTo>
                  <a:pt x="1598944" y="0"/>
                </a:lnTo>
              </a:path>
            </a:pathLst>
          </a:custGeom>
          <a:solidFill>
            <a:srgbClr val="FFFFFF"/>
          </a:solidFill>
        </p:spPr>
        <p:txBody>
          <a:bodyPr wrap="square" lIns="0" tIns="0" rIns="0" bIns="0" rtlCol="0"/>
          <a:lstStyle/>
          <a:p>
            <a:endParaRPr sz="1350"/>
          </a:p>
        </p:txBody>
      </p:sp>
      <p:sp>
        <p:nvSpPr>
          <p:cNvPr id="156" name="bk object 156"/>
          <p:cNvSpPr/>
          <p:nvPr/>
        </p:nvSpPr>
        <p:spPr>
          <a:xfrm>
            <a:off x="1339062" y="2882112"/>
            <a:ext cx="2590800" cy="2590800"/>
          </a:xfrm>
          <a:prstGeom prst="rect">
            <a:avLst/>
          </a:prstGeom>
          <a:blipFill dpi="0" rotWithShape="1">
            <a:blip r:embed="rId8" cstate="print">
              <a:alphaModFix amt="20000"/>
            </a:blip>
            <a:srcRect/>
            <a:stretch>
              <a:fillRect/>
            </a:stretch>
          </a:blipFill>
        </p:spPr>
        <p:txBody>
          <a:bodyPr wrap="square" lIns="0" tIns="0" rIns="0" bIns="0" rtlCol="0"/>
          <a:lstStyle/>
          <a:p>
            <a:endParaRPr sz="1350"/>
          </a:p>
        </p:txBody>
      </p:sp>
      <p:sp>
        <p:nvSpPr>
          <p:cNvPr id="157" name="bk object 157"/>
          <p:cNvSpPr/>
          <p:nvPr/>
        </p:nvSpPr>
        <p:spPr>
          <a:xfrm>
            <a:off x="2006082" y="3549980"/>
            <a:ext cx="1002030" cy="1002030"/>
          </a:xfrm>
          <a:custGeom>
            <a:avLst/>
            <a:gdLst/>
            <a:ahLst/>
            <a:cxnLst/>
            <a:rect l="l" t="t" r="r" b="b"/>
            <a:pathLst>
              <a:path w="1336039" h="1336039">
                <a:moveTo>
                  <a:pt x="667994" y="0"/>
                </a:moveTo>
                <a:lnTo>
                  <a:pt x="613208" y="2214"/>
                </a:lnTo>
                <a:lnTo>
                  <a:pt x="559642" y="8742"/>
                </a:lnTo>
                <a:lnTo>
                  <a:pt x="507468" y="19413"/>
                </a:lnTo>
                <a:lnTo>
                  <a:pt x="456856" y="34054"/>
                </a:lnTo>
                <a:lnTo>
                  <a:pt x="407981" y="52494"/>
                </a:lnTo>
                <a:lnTo>
                  <a:pt x="361013" y="74560"/>
                </a:lnTo>
                <a:lnTo>
                  <a:pt x="316123" y="100081"/>
                </a:lnTo>
                <a:lnTo>
                  <a:pt x="273486" y="128885"/>
                </a:lnTo>
                <a:lnTo>
                  <a:pt x="233271" y="160799"/>
                </a:lnTo>
                <a:lnTo>
                  <a:pt x="195651" y="195653"/>
                </a:lnTo>
                <a:lnTo>
                  <a:pt x="160798" y="233273"/>
                </a:lnTo>
                <a:lnTo>
                  <a:pt x="128884" y="273488"/>
                </a:lnTo>
                <a:lnTo>
                  <a:pt x="100081" y="316127"/>
                </a:lnTo>
                <a:lnTo>
                  <a:pt x="74560" y="361017"/>
                </a:lnTo>
                <a:lnTo>
                  <a:pt x="52494" y="407986"/>
                </a:lnTo>
                <a:lnTo>
                  <a:pt x="34054" y="456863"/>
                </a:lnTo>
                <a:lnTo>
                  <a:pt x="19413" y="507475"/>
                </a:lnTo>
                <a:lnTo>
                  <a:pt x="8742" y="559651"/>
                </a:lnTo>
                <a:lnTo>
                  <a:pt x="2214" y="613219"/>
                </a:lnTo>
                <a:lnTo>
                  <a:pt x="0" y="668007"/>
                </a:lnTo>
                <a:lnTo>
                  <a:pt x="2214" y="722794"/>
                </a:lnTo>
                <a:lnTo>
                  <a:pt x="8742" y="776362"/>
                </a:lnTo>
                <a:lnTo>
                  <a:pt x="19413" y="828538"/>
                </a:lnTo>
                <a:lnTo>
                  <a:pt x="34054" y="879151"/>
                </a:lnTo>
                <a:lnTo>
                  <a:pt x="52494" y="928027"/>
                </a:lnTo>
                <a:lnTo>
                  <a:pt x="74560" y="974997"/>
                </a:lnTo>
                <a:lnTo>
                  <a:pt x="100081" y="1019887"/>
                </a:lnTo>
                <a:lnTo>
                  <a:pt x="128884" y="1062525"/>
                </a:lnTo>
                <a:lnTo>
                  <a:pt x="160798" y="1102741"/>
                </a:lnTo>
                <a:lnTo>
                  <a:pt x="195651" y="1140361"/>
                </a:lnTo>
                <a:lnTo>
                  <a:pt x="233271" y="1175214"/>
                </a:lnTo>
                <a:lnTo>
                  <a:pt x="273486" y="1207129"/>
                </a:lnTo>
                <a:lnTo>
                  <a:pt x="316123" y="1235932"/>
                </a:lnTo>
                <a:lnTo>
                  <a:pt x="361013" y="1261453"/>
                </a:lnTo>
                <a:lnTo>
                  <a:pt x="407981" y="1283519"/>
                </a:lnTo>
                <a:lnTo>
                  <a:pt x="456856" y="1301959"/>
                </a:lnTo>
                <a:lnTo>
                  <a:pt x="507468" y="1316600"/>
                </a:lnTo>
                <a:lnTo>
                  <a:pt x="559642" y="1327271"/>
                </a:lnTo>
                <a:lnTo>
                  <a:pt x="613208" y="1333800"/>
                </a:lnTo>
                <a:lnTo>
                  <a:pt x="667994" y="1336014"/>
                </a:lnTo>
                <a:lnTo>
                  <a:pt x="722784" y="1333800"/>
                </a:lnTo>
                <a:lnTo>
                  <a:pt x="776353" y="1327271"/>
                </a:lnTo>
                <a:lnTo>
                  <a:pt x="828530" y="1316600"/>
                </a:lnTo>
                <a:lnTo>
                  <a:pt x="879144" y="1301959"/>
                </a:lnTo>
                <a:lnTo>
                  <a:pt x="928022" y="1283519"/>
                </a:lnTo>
                <a:lnTo>
                  <a:pt x="974992" y="1261453"/>
                </a:lnTo>
                <a:lnTo>
                  <a:pt x="1019883" y="1235932"/>
                </a:lnTo>
                <a:lnTo>
                  <a:pt x="1062523" y="1207129"/>
                </a:lnTo>
                <a:lnTo>
                  <a:pt x="1102739" y="1175214"/>
                </a:lnTo>
                <a:lnTo>
                  <a:pt x="1140359" y="1140361"/>
                </a:lnTo>
                <a:lnTo>
                  <a:pt x="1175213" y="1102741"/>
                </a:lnTo>
                <a:lnTo>
                  <a:pt x="1207128" y="1062525"/>
                </a:lnTo>
                <a:lnTo>
                  <a:pt x="1235932" y="1019887"/>
                </a:lnTo>
                <a:lnTo>
                  <a:pt x="1261453" y="974997"/>
                </a:lnTo>
                <a:lnTo>
                  <a:pt x="1283519" y="928027"/>
                </a:lnTo>
                <a:lnTo>
                  <a:pt x="1301959" y="879151"/>
                </a:lnTo>
                <a:lnTo>
                  <a:pt x="1316600" y="828538"/>
                </a:lnTo>
                <a:lnTo>
                  <a:pt x="1327271" y="776362"/>
                </a:lnTo>
                <a:lnTo>
                  <a:pt x="1333800" y="722794"/>
                </a:lnTo>
                <a:lnTo>
                  <a:pt x="1336014" y="668007"/>
                </a:lnTo>
                <a:lnTo>
                  <a:pt x="1333800" y="613219"/>
                </a:lnTo>
                <a:lnTo>
                  <a:pt x="1327271" y="559651"/>
                </a:lnTo>
                <a:lnTo>
                  <a:pt x="1316600" y="507475"/>
                </a:lnTo>
                <a:lnTo>
                  <a:pt x="1301959" y="456863"/>
                </a:lnTo>
                <a:lnTo>
                  <a:pt x="1283519" y="407986"/>
                </a:lnTo>
                <a:lnTo>
                  <a:pt x="1261453" y="361017"/>
                </a:lnTo>
                <a:lnTo>
                  <a:pt x="1235932" y="316127"/>
                </a:lnTo>
                <a:lnTo>
                  <a:pt x="1207128" y="273488"/>
                </a:lnTo>
                <a:lnTo>
                  <a:pt x="1175213" y="233273"/>
                </a:lnTo>
                <a:lnTo>
                  <a:pt x="1140359" y="195653"/>
                </a:lnTo>
                <a:lnTo>
                  <a:pt x="1102739" y="160799"/>
                </a:lnTo>
                <a:lnTo>
                  <a:pt x="1062523" y="128885"/>
                </a:lnTo>
                <a:lnTo>
                  <a:pt x="1019883" y="100081"/>
                </a:lnTo>
                <a:lnTo>
                  <a:pt x="974992" y="74560"/>
                </a:lnTo>
                <a:lnTo>
                  <a:pt x="928022" y="52494"/>
                </a:lnTo>
                <a:lnTo>
                  <a:pt x="879144" y="34054"/>
                </a:lnTo>
                <a:lnTo>
                  <a:pt x="828530" y="19413"/>
                </a:lnTo>
                <a:lnTo>
                  <a:pt x="776353" y="8742"/>
                </a:lnTo>
                <a:lnTo>
                  <a:pt x="722784" y="2214"/>
                </a:lnTo>
                <a:lnTo>
                  <a:pt x="667994" y="0"/>
                </a:lnTo>
                <a:close/>
              </a:path>
            </a:pathLst>
          </a:custGeom>
          <a:solidFill>
            <a:srgbClr val="FF398A"/>
          </a:solidFill>
        </p:spPr>
        <p:txBody>
          <a:bodyPr wrap="square" lIns="0" tIns="0" rIns="0" bIns="0" rtlCol="0"/>
          <a:lstStyle/>
          <a:p>
            <a:endParaRPr sz="1350"/>
          </a:p>
        </p:txBody>
      </p:sp>
    </p:spTree>
    <p:extLst>
      <p:ext uri="{BB962C8B-B14F-4D97-AF65-F5344CB8AC3E}">
        <p14:creationId xmlns:p14="http://schemas.microsoft.com/office/powerpoint/2010/main" val="3112028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165EC3-6114-08B0-4102-B02F373A5626}"/>
              </a:ext>
            </a:extLst>
          </p:cNvPr>
          <p:cNvSpPr>
            <a:spLocks noGrp="1"/>
          </p:cNvSpPr>
          <p:nvPr>
            <p:ph type="title"/>
          </p:nvPr>
        </p:nvSpPr>
        <p:spPr/>
        <p:txBody>
          <a:bodyPr/>
          <a:lstStyle/>
          <a:p>
            <a:r>
              <a:rPr lang="es-MX"/>
              <a:t>Haz clic para modificar el estilo de título del patrón</a:t>
            </a:r>
            <a:endParaRPr lang="es-CO"/>
          </a:p>
        </p:txBody>
      </p:sp>
      <p:sp>
        <p:nvSpPr>
          <p:cNvPr id="3" name="Marcador de contenido 2">
            <a:extLst>
              <a:ext uri="{FF2B5EF4-FFF2-40B4-BE49-F238E27FC236}">
                <a16:creationId xmlns:a16="http://schemas.microsoft.com/office/drawing/2014/main" id="{A7489AF8-15ED-C25E-2810-6FEABDB385EF}"/>
              </a:ext>
            </a:extLst>
          </p:cNvPr>
          <p:cNvSpPr>
            <a:spLocks noGrp="1"/>
          </p:cNvSpPr>
          <p:nvPr>
            <p:ph idx="1"/>
          </p:nvPr>
        </p:nvSpPr>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fecha 3">
            <a:extLst>
              <a:ext uri="{FF2B5EF4-FFF2-40B4-BE49-F238E27FC236}">
                <a16:creationId xmlns:a16="http://schemas.microsoft.com/office/drawing/2014/main" id="{23A430C3-ACF0-59F5-F33C-17EF67A76BDB}"/>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5EFE3839-A0FF-B5D1-79A4-8EEFB3EF04EA}"/>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E20A9CA4-F01A-37FE-86DF-CFD08AD8E684}"/>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1094192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F1A4C7-A290-1FCB-A873-7D8CBE99B57A}"/>
              </a:ext>
            </a:extLst>
          </p:cNvPr>
          <p:cNvSpPr>
            <a:spLocks noGrp="1"/>
          </p:cNvSpPr>
          <p:nvPr>
            <p:ph type="title"/>
          </p:nvPr>
        </p:nvSpPr>
        <p:spPr>
          <a:xfrm>
            <a:off x="831850" y="1709738"/>
            <a:ext cx="10515600" cy="2852737"/>
          </a:xfrm>
        </p:spPr>
        <p:txBody>
          <a:bodyPr anchor="b"/>
          <a:lstStyle>
            <a:lvl1pPr>
              <a:defRPr sz="6000"/>
            </a:lvl1pPr>
          </a:lstStyle>
          <a:p>
            <a:r>
              <a:rPr lang="es-MX"/>
              <a:t>Haz clic para modificar el estilo de título del patrón</a:t>
            </a:r>
            <a:endParaRPr lang="es-CO"/>
          </a:p>
        </p:txBody>
      </p:sp>
      <p:sp>
        <p:nvSpPr>
          <p:cNvPr id="3" name="Marcador de texto 2">
            <a:extLst>
              <a:ext uri="{FF2B5EF4-FFF2-40B4-BE49-F238E27FC236}">
                <a16:creationId xmlns:a16="http://schemas.microsoft.com/office/drawing/2014/main" id="{E6151FC8-8E36-F631-0253-CCAD7C542DC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4" name="Marcador de fecha 3">
            <a:extLst>
              <a:ext uri="{FF2B5EF4-FFF2-40B4-BE49-F238E27FC236}">
                <a16:creationId xmlns:a16="http://schemas.microsoft.com/office/drawing/2014/main" id="{EE93ABD6-1215-1D76-09C2-A9E85228EADB}"/>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E2FF0F69-BBDC-465B-5243-14D6AE27D7C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D8CF74BE-E0EA-0ECC-E530-AD52861C8A0D}"/>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429477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986EAA-87B7-D1ED-C34C-477207DFB99C}"/>
              </a:ext>
            </a:extLst>
          </p:cNvPr>
          <p:cNvSpPr>
            <a:spLocks noGrp="1"/>
          </p:cNvSpPr>
          <p:nvPr>
            <p:ph type="title"/>
          </p:nvPr>
        </p:nvSpPr>
        <p:spPr/>
        <p:txBody>
          <a:bodyPr/>
          <a:lstStyle/>
          <a:p>
            <a:r>
              <a:rPr lang="es-MX"/>
              <a:t>Haz clic para modificar el estilo de título del patrón</a:t>
            </a:r>
            <a:endParaRPr lang="es-CO"/>
          </a:p>
        </p:txBody>
      </p:sp>
      <p:sp>
        <p:nvSpPr>
          <p:cNvPr id="3" name="Marcador de contenido 2">
            <a:extLst>
              <a:ext uri="{FF2B5EF4-FFF2-40B4-BE49-F238E27FC236}">
                <a16:creationId xmlns:a16="http://schemas.microsoft.com/office/drawing/2014/main" id="{081994B7-735C-31DF-7F2B-ED816DB9DDEF}"/>
              </a:ext>
            </a:extLst>
          </p:cNvPr>
          <p:cNvSpPr>
            <a:spLocks noGrp="1"/>
          </p:cNvSpPr>
          <p:nvPr>
            <p:ph sz="half" idx="1"/>
          </p:nvPr>
        </p:nvSpPr>
        <p:spPr>
          <a:xfrm>
            <a:off x="838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contenido 3">
            <a:extLst>
              <a:ext uri="{FF2B5EF4-FFF2-40B4-BE49-F238E27FC236}">
                <a16:creationId xmlns:a16="http://schemas.microsoft.com/office/drawing/2014/main" id="{3CA38712-E1E4-B14D-DB25-C8E7050A6954}"/>
              </a:ext>
            </a:extLst>
          </p:cNvPr>
          <p:cNvSpPr>
            <a:spLocks noGrp="1"/>
          </p:cNvSpPr>
          <p:nvPr>
            <p:ph sz="half" idx="2"/>
          </p:nvPr>
        </p:nvSpPr>
        <p:spPr>
          <a:xfrm>
            <a:off x="6172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5" name="Marcador de fecha 4">
            <a:extLst>
              <a:ext uri="{FF2B5EF4-FFF2-40B4-BE49-F238E27FC236}">
                <a16:creationId xmlns:a16="http://schemas.microsoft.com/office/drawing/2014/main" id="{C8435F05-A7AB-2430-A737-7ADE50C6725F}"/>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6" name="Marcador de pie de página 5">
            <a:extLst>
              <a:ext uri="{FF2B5EF4-FFF2-40B4-BE49-F238E27FC236}">
                <a16:creationId xmlns:a16="http://schemas.microsoft.com/office/drawing/2014/main" id="{80963A95-7F8A-ADED-7C8A-6866B1F89354}"/>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427CC0FB-A1B7-B0E4-A894-31F8A2D69926}"/>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1740871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6EC0C2-31E8-DB18-8D8A-96482D790C59}"/>
              </a:ext>
            </a:extLst>
          </p:cNvPr>
          <p:cNvSpPr>
            <a:spLocks noGrp="1"/>
          </p:cNvSpPr>
          <p:nvPr>
            <p:ph type="title"/>
          </p:nvPr>
        </p:nvSpPr>
        <p:spPr>
          <a:xfrm>
            <a:off x="839788" y="365125"/>
            <a:ext cx="10515600" cy="1325563"/>
          </a:xfrm>
        </p:spPr>
        <p:txBody>
          <a:bodyPr/>
          <a:lstStyle/>
          <a:p>
            <a:r>
              <a:rPr lang="es-MX"/>
              <a:t>Haz clic para modificar el estilo de título del patrón</a:t>
            </a:r>
            <a:endParaRPr lang="es-CO"/>
          </a:p>
        </p:txBody>
      </p:sp>
      <p:sp>
        <p:nvSpPr>
          <p:cNvPr id="3" name="Marcador de texto 2">
            <a:extLst>
              <a:ext uri="{FF2B5EF4-FFF2-40B4-BE49-F238E27FC236}">
                <a16:creationId xmlns:a16="http://schemas.microsoft.com/office/drawing/2014/main" id="{EBF4151E-B612-6202-5206-266578A9CB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40A18EFF-8542-E08F-FE52-6931BBC17F57}"/>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5" name="Marcador de texto 4">
            <a:extLst>
              <a:ext uri="{FF2B5EF4-FFF2-40B4-BE49-F238E27FC236}">
                <a16:creationId xmlns:a16="http://schemas.microsoft.com/office/drawing/2014/main" id="{480596B1-90FB-637F-C767-0BAF8767E4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226332A3-117C-5E75-F1D3-E74F125A20BF}"/>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7" name="Marcador de fecha 6">
            <a:extLst>
              <a:ext uri="{FF2B5EF4-FFF2-40B4-BE49-F238E27FC236}">
                <a16:creationId xmlns:a16="http://schemas.microsoft.com/office/drawing/2014/main" id="{2C4D23B3-7E25-B94D-4733-9F78B2196395}"/>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8" name="Marcador de pie de página 7">
            <a:extLst>
              <a:ext uri="{FF2B5EF4-FFF2-40B4-BE49-F238E27FC236}">
                <a16:creationId xmlns:a16="http://schemas.microsoft.com/office/drawing/2014/main" id="{D2A670B9-02C6-28C3-1E1F-826944A15A3E}"/>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64213E56-4320-09BA-8EB9-51E6808C1B96}"/>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4057852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E7AEE2D-27D3-8B53-1C82-72A9AEAF1405}"/>
              </a:ext>
            </a:extLst>
          </p:cNvPr>
          <p:cNvSpPr>
            <a:spLocks noGrp="1"/>
          </p:cNvSpPr>
          <p:nvPr>
            <p:ph type="title"/>
          </p:nvPr>
        </p:nvSpPr>
        <p:spPr/>
        <p:txBody>
          <a:bodyPr/>
          <a:lstStyle/>
          <a:p>
            <a:r>
              <a:rPr lang="es-MX"/>
              <a:t>Haz clic para modificar el estilo de título del patrón</a:t>
            </a:r>
            <a:endParaRPr lang="es-CO"/>
          </a:p>
        </p:txBody>
      </p:sp>
      <p:sp>
        <p:nvSpPr>
          <p:cNvPr id="3" name="Marcador de fecha 2">
            <a:extLst>
              <a:ext uri="{FF2B5EF4-FFF2-40B4-BE49-F238E27FC236}">
                <a16:creationId xmlns:a16="http://schemas.microsoft.com/office/drawing/2014/main" id="{6EC4E731-14AE-FEC6-E0C4-3FC9B8BCFAFE}"/>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4" name="Marcador de pie de página 3">
            <a:extLst>
              <a:ext uri="{FF2B5EF4-FFF2-40B4-BE49-F238E27FC236}">
                <a16:creationId xmlns:a16="http://schemas.microsoft.com/office/drawing/2014/main" id="{AD8EC40F-B0C5-6A10-66D1-763DF0CEDA90}"/>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DE2E6955-8A11-90FC-5953-D8D86C0577B9}"/>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457519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6CFC6077-F34A-A955-413A-E75043F0D934}"/>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3" name="Marcador de pie de página 2">
            <a:extLst>
              <a:ext uri="{FF2B5EF4-FFF2-40B4-BE49-F238E27FC236}">
                <a16:creationId xmlns:a16="http://schemas.microsoft.com/office/drawing/2014/main" id="{9F34F281-303E-55A2-9794-FBD36D718A4F}"/>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E8F802BF-E25D-84D1-C9ED-23D56612967A}"/>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2110703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F33502-37AF-9B70-8E87-983F0B20A647}"/>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endParaRPr lang="es-CO"/>
          </a:p>
        </p:txBody>
      </p:sp>
      <p:sp>
        <p:nvSpPr>
          <p:cNvPr id="3" name="Marcador de contenido 2">
            <a:extLst>
              <a:ext uri="{FF2B5EF4-FFF2-40B4-BE49-F238E27FC236}">
                <a16:creationId xmlns:a16="http://schemas.microsoft.com/office/drawing/2014/main" id="{0B49E162-27CF-C15A-74E4-93F9821918E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texto 3">
            <a:extLst>
              <a:ext uri="{FF2B5EF4-FFF2-40B4-BE49-F238E27FC236}">
                <a16:creationId xmlns:a16="http://schemas.microsoft.com/office/drawing/2014/main" id="{4BD33A81-A5FC-B5A8-C19B-70D7245074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8DFEE0F8-7C3B-B5EB-9659-226B4E3CD948}"/>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6" name="Marcador de pie de página 5">
            <a:extLst>
              <a:ext uri="{FF2B5EF4-FFF2-40B4-BE49-F238E27FC236}">
                <a16:creationId xmlns:a16="http://schemas.microsoft.com/office/drawing/2014/main" id="{B9B40675-2B9D-5946-9090-D6822EFB9F63}"/>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8BB5ABF0-25FB-26EC-57AE-1B6596F1A673}"/>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3003971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5E9DF3-CC88-3A04-BE2C-78BCD2015483}"/>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endParaRPr lang="es-CO"/>
          </a:p>
        </p:txBody>
      </p:sp>
      <p:sp>
        <p:nvSpPr>
          <p:cNvPr id="3" name="Marcador de posición de imagen 2">
            <a:extLst>
              <a:ext uri="{FF2B5EF4-FFF2-40B4-BE49-F238E27FC236}">
                <a16:creationId xmlns:a16="http://schemas.microsoft.com/office/drawing/2014/main" id="{9CB6AAF2-D28A-A0F6-0D4E-7EEC2F7996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353E4A17-AAE3-BEDC-B14E-1B74B19BAB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353B8B92-0B38-A125-198A-87EF79C7EA7B}"/>
              </a:ext>
            </a:extLst>
          </p:cNvPr>
          <p:cNvSpPr>
            <a:spLocks noGrp="1"/>
          </p:cNvSpPr>
          <p:nvPr>
            <p:ph type="dt" sz="half" idx="10"/>
          </p:nvPr>
        </p:nvSpPr>
        <p:spPr/>
        <p:txBody>
          <a:bodyPr/>
          <a:lstStyle/>
          <a:p>
            <a:fld id="{7A9B1D9B-ED72-B349-9457-F2AA4B449978}" type="datetimeFigureOut">
              <a:rPr lang="es-CO" smtClean="0"/>
              <a:t>24/11/2025</a:t>
            </a:fld>
            <a:endParaRPr lang="es-CO"/>
          </a:p>
        </p:txBody>
      </p:sp>
      <p:sp>
        <p:nvSpPr>
          <p:cNvPr id="6" name="Marcador de pie de página 5">
            <a:extLst>
              <a:ext uri="{FF2B5EF4-FFF2-40B4-BE49-F238E27FC236}">
                <a16:creationId xmlns:a16="http://schemas.microsoft.com/office/drawing/2014/main" id="{28A3EFA0-1FBC-4144-1D40-0385C40137E4}"/>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0031C0F5-FADA-DA79-FA12-AD0A067E9927}"/>
              </a:ext>
            </a:extLst>
          </p:cNvPr>
          <p:cNvSpPr>
            <a:spLocks noGrp="1"/>
          </p:cNvSpPr>
          <p:nvPr>
            <p:ph type="sldNum" sz="quarter" idx="12"/>
          </p:nvPr>
        </p:nvSpPr>
        <p:spPr/>
        <p:txBody>
          <a:bodyPr/>
          <a:lstStyle/>
          <a:p>
            <a:fld id="{DC038868-23F9-8D49-B6F6-FA43A7AB288B}" type="slidenum">
              <a:rPr lang="es-CO" smtClean="0"/>
              <a:t>‹Nº›</a:t>
            </a:fld>
            <a:endParaRPr lang="es-CO"/>
          </a:p>
        </p:txBody>
      </p:sp>
    </p:spTree>
    <p:extLst>
      <p:ext uri="{BB962C8B-B14F-4D97-AF65-F5344CB8AC3E}">
        <p14:creationId xmlns:p14="http://schemas.microsoft.com/office/powerpoint/2010/main" val="5971166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FBEAA77D-A407-52F7-1758-9DB010B241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MX"/>
              <a:t>Haz clic para modificar el estilo de título del patrón</a:t>
            </a:r>
            <a:endParaRPr lang="es-CO"/>
          </a:p>
        </p:txBody>
      </p:sp>
      <p:sp>
        <p:nvSpPr>
          <p:cNvPr id="3" name="Marcador de texto 2">
            <a:extLst>
              <a:ext uri="{FF2B5EF4-FFF2-40B4-BE49-F238E27FC236}">
                <a16:creationId xmlns:a16="http://schemas.microsoft.com/office/drawing/2014/main" id="{A8E5E816-A0FB-C77B-B018-EB247173B3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O"/>
          </a:p>
        </p:txBody>
      </p:sp>
      <p:sp>
        <p:nvSpPr>
          <p:cNvPr id="4" name="Marcador de fecha 3">
            <a:extLst>
              <a:ext uri="{FF2B5EF4-FFF2-40B4-BE49-F238E27FC236}">
                <a16:creationId xmlns:a16="http://schemas.microsoft.com/office/drawing/2014/main" id="{DF779C5D-356C-015E-6764-085CBE57F2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A9B1D9B-ED72-B349-9457-F2AA4B449978}" type="datetimeFigureOut">
              <a:rPr lang="es-CO" smtClean="0"/>
              <a:t>24/11/2025</a:t>
            </a:fld>
            <a:endParaRPr lang="es-CO"/>
          </a:p>
        </p:txBody>
      </p:sp>
      <p:sp>
        <p:nvSpPr>
          <p:cNvPr id="5" name="Marcador de pie de página 4">
            <a:extLst>
              <a:ext uri="{FF2B5EF4-FFF2-40B4-BE49-F238E27FC236}">
                <a16:creationId xmlns:a16="http://schemas.microsoft.com/office/drawing/2014/main" id="{62F46A24-B63D-F608-F051-CC087EB8B7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O"/>
          </a:p>
        </p:txBody>
      </p:sp>
      <p:sp>
        <p:nvSpPr>
          <p:cNvPr id="6" name="Marcador de número de diapositiva 5">
            <a:extLst>
              <a:ext uri="{FF2B5EF4-FFF2-40B4-BE49-F238E27FC236}">
                <a16:creationId xmlns:a16="http://schemas.microsoft.com/office/drawing/2014/main" id="{C74815B6-675D-0455-1EC4-833D1EEE3D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C038868-23F9-8D49-B6F6-FA43A7AB288B}" type="slidenum">
              <a:rPr lang="es-CO" smtClean="0"/>
              <a:t>‹Nº›</a:t>
            </a:fld>
            <a:endParaRPr lang="es-CO"/>
          </a:p>
        </p:txBody>
      </p:sp>
    </p:spTree>
    <p:extLst>
      <p:ext uri="{BB962C8B-B14F-4D97-AF65-F5344CB8AC3E}">
        <p14:creationId xmlns:p14="http://schemas.microsoft.com/office/powerpoint/2010/main" val="14631956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wm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image" Target="../media/image10.pn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notesSlide" Target="../notesSlides/notesSlide13.xml"/><Relationship Id="rId16"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60.png"/><Relationship Id="rId3" Type="http://schemas.openxmlformats.org/officeDocument/2006/relationships/image" Target="../media/image10.png"/><Relationship Id="rId7" Type="http://schemas.openxmlformats.org/officeDocument/2006/relationships/diagramColors" Target="../diagrams/colors1.xml"/><Relationship Id="rId12" Type="http://schemas.openxmlformats.org/officeDocument/2006/relationships/image" Target="../media/image59.svg"/><Relationship Id="rId2" Type="http://schemas.openxmlformats.org/officeDocument/2006/relationships/notesSlide" Target="../notesSlides/notesSlide14.xml"/><Relationship Id="rId16" Type="http://schemas.openxmlformats.org/officeDocument/2006/relationships/image" Target="../media/image63.svg"/><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image" Target="../media/image58.png"/><Relationship Id="rId5" Type="http://schemas.openxmlformats.org/officeDocument/2006/relationships/diagramLayout" Target="../diagrams/layout1.xml"/><Relationship Id="rId1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diagramData" Target="../diagrams/data1.xml"/><Relationship Id="rId9" Type="http://schemas.openxmlformats.org/officeDocument/2006/relationships/image" Target="../media/image56.png"/><Relationship Id="rId14" Type="http://schemas.openxmlformats.org/officeDocument/2006/relationships/image" Target="../media/image61.svg"/></Relationships>
</file>

<file path=ppt/slides/_rels/slide1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microsoft.com/office/2007/relationships/hdphoto" Target="../media/hdphoto4.wdp"/><Relationship Id="rId5" Type="http://schemas.openxmlformats.org/officeDocument/2006/relationships/image" Target="../media/image65.png"/><Relationship Id="rId10" Type="http://schemas.microsoft.com/office/2007/relationships/hdphoto" Target="../media/hdphoto6.wdp"/><Relationship Id="rId4" Type="http://schemas.microsoft.com/office/2007/relationships/hdphoto" Target="../media/hdphoto3.wdp"/><Relationship Id="rId9" Type="http://schemas.openxmlformats.org/officeDocument/2006/relationships/image" Target="../media/image67.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8" Type="http://schemas.openxmlformats.org/officeDocument/2006/relationships/image" Target="../media/image76.jpg"/><Relationship Id="rId13" Type="http://schemas.openxmlformats.org/officeDocument/2006/relationships/image" Target="../media/image81.png"/><Relationship Id="rId18" Type="http://schemas.openxmlformats.org/officeDocument/2006/relationships/image" Target="../media/image86.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png"/><Relationship Id="rId2" Type="http://schemas.openxmlformats.org/officeDocument/2006/relationships/notesSlide" Target="../notesSlides/notesSlide19.xml"/><Relationship Id="rId16" Type="http://schemas.openxmlformats.org/officeDocument/2006/relationships/image" Target="../media/image84.png"/><Relationship Id="rId1" Type="http://schemas.openxmlformats.org/officeDocument/2006/relationships/slideLayout" Target="../slideLayouts/slideLayout1.xml"/><Relationship Id="rId6" Type="http://schemas.openxmlformats.org/officeDocument/2006/relationships/image" Target="../media/image74.png"/><Relationship Id="rId11" Type="http://schemas.openxmlformats.org/officeDocument/2006/relationships/image" Target="../media/image79.jpeg"/><Relationship Id="rId5" Type="http://schemas.openxmlformats.org/officeDocument/2006/relationships/image" Target="../media/image73.png"/><Relationship Id="rId15" Type="http://schemas.openxmlformats.org/officeDocument/2006/relationships/image" Target="../media/image83.png"/><Relationship Id="rId10" Type="http://schemas.openxmlformats.org/officeDocument/2006/relationships/image" Target="../media/image78.jpg"/><Relationship Id="rId19" Type="http://schemas.openxmlformats.org/officeDocument/2006/relationships/image" Target="../media/image87.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jpe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0.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6.svg"/><Relationship Id="rId3" Type="http://schemas.openxmlformats.org/officeDocument/2006/relationships/image" Target="../media/image10.png"/><Relationship Id="rId7" Type="http://schemas.openxmlformats.org/officeDocument/2006/relationships/image" Target="../media/image28.pn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notesSlide" Target="../notesSlides/notesSlide6.xml"/><Relationship Id="rId16" Type="http://schemas.openxmlformats.org/officeDocument/2006/relationships/image" Target="../media/image19.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2.svg"/><Relationship Id="rId5" Type="http://schemas.microsoft.com/office/2007/relationships/hdphoto" Target="../media/hdphoto2.wdp"/><Relationship Id="rId15" Type="http://schemas.openxmlformats.org/officeDocument/2006/relationships/image" Target="../media/image18.sv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0.png"/><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redondeado 1">
            <a:extLst>
              <a:ext uri="{FF2B5EF4-FFF2-40B4-BE49-F238E27FC236}">
                <a16:creationId xmlns:a16="http://schemas.microsoft.com/office/drawing/2014/main" id="{7660B878-3898-659D-454A-3B567DA77F32}"/>
              </a:ext>
            </a:extLst>
          </p:cNvPr>
          <p:cNvSpPr/>
          <p:nvPr/>
        </p:nvSpPr>
        <p:spPr>
          <a:xfrm>
            <a:off x="6375888" y="-2947783"/>
            <a:ext cx="12753553" cy="12753565"/>
          </a:xfrm>
          <a:prstGeom prst="roundRect">
            <a:avLst>
              <a:gd name="adj" fmla="val 50000"/>
            </a:avLst>
          </a:prstGeom>
          <a:gradFill flip="none" rotWithShape="1">
            <a:gsLst>
              <a:gs pos="31000">
                <a:srgbClr val="525C9C"/>
              </a:gs>
              <a:gs pos="74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5" name="Imagen 4">
            <a:extLst>
              <a:ext uri="{FF2B5EF4-FFF2-40B4-BE49-F238E27FC236}">
                <a16:creationId xmlns:a16="http://schemas.microsoft.com/office/drawing/2014/main" id="{6838482C-3A9C-FF72-2710-84008A2E3093}"/>
              </a:ext>
            </a:extLst>
          </p:cNvPr>
          <p:cNvPicPr>
            <a:picLocks noChangeAspect="1"/>
          </p:cNvPicPr>
          <p:nvPr/>
        </p:nvPicPr>
        <p:blipFill>
          <a:blip r:embed="rId3"/>
          <a:stretch>
            <a:fillRect/>
          </a:stretch>
        </p:blipFill>
        <p:spPr>
          <a:xfrm>
            <a:off x="2579413" y="7938"/>
            <a:ext cx="987001" cy="987001"/>
          </a:xfrm>
          <a:prstGeom prst="rect">
            <a:avLst/>
          </a:prstGeom>
        </p:spPr>
      </p:pic>
      <p:pic>
        <p:nvPicPr>
          <p:cNvPr id="6" name="Imagen 5">
            <a:extLst>
              <a:ext uri="{FF2B5EF4-FFF2-40B4-BE49-F238E27FC236}">
                <a16:creationId xmlns:a16="http://schemas.microsoft.com/office/drawing/2014/main" id="{6E38B37F-36A6-AF5F-DDBC-0E6B742C047D}"/>
              </a:ext>
            </a:extLst>
          </p:cNvPr>
          <p:cNvPicPr>
            <a:picLocks noChangeAspect="1"/>
          </p:cNvPicPr>
          <p:nvPr/>
        </p:nvPicPr>
        <p:blipFill>
          <a:blip r:embed="rId4"/>
          <a:stretch>
            <a:fillRect/>
          </a:stretch>
        </p:blipFill>
        <p:spPr>
          <a:xfrm>
            <a:off x="8909022" y="1973709"/>
            <a:ext cx="1080170" cy="1068429"/>
          </a:xfrm>
          <a:prstGeom prst="rect">
            <a:avLst/>
          </a:prstGeom>
        </p:spPr>
      </p:pic>
      <p:pic>
        <p:nvPicPr>
          <p:cNvPr id="7" name="Imagen 6">
            <a:extLst>
              <a:ext uri="{FF2B5EF4-FFF2-40B4-BE49-F238E27FC236}">
                <a16:creationId xmlns:a16="http://schemas.microsoft.com/office/drawing/2014/main" id="{8556D68B-888B-1387-697C-DF07A19C165F}"/>
              </a:ext>
            </a:extLst>
          </p:cNvPr>
          <p:cNvPicPr>
            <a:picLocks noChangeAspect="1"/>
          </p:cNvPicPr>
          <p:nvPr/>
        </p:nvPicPr>
        <p:blipFill>
          <a:blip r:embed="rId5"/>
          <a:stretch>
            <a:fillRect/>
          </a:stretch>
        </p:blipFill>
        <p:spPr>
          <a:xfrm>
            <a:off x="9705802" y="586330"/>
            <a:ext cx="1835567" cy="1504937"/>
          </a:xfrm>
          <a:prstGeom prst="rect">
            <a:avLst/>
          </a:prstGeom>
        </p:spPr>
      </p:pic>
      <p:sp>
        <p:nvSpPr>
          <p:cNvPr id="8" name="Rectángulo redondeado 7">
            <a:extLst>
              <a:ext uri="{FF2B5EF4-FFF2-40B4-BE49-F238E27FC236}">
                <a16:creationId xmlns:a16="http://schemas.microsoft.com/office/drawing/2014/main" id="{5B8F7A77-512F-CB39-8797-59ABCE31BB86}"/>
              </a:ext>
            </a:extLst>
          </p:cNvPr>
          <p:cNvSpPr/>
          <p:nvPr/>
        </p:nvSpPr>
        <p:spPr>
          <a:xfrm rot="18900000">
            <a:off x="8300411" y="7163453"/>
            <a:ext cx="3429000" cy="570201"/>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Rectángulo redondeado 8">
            <a:extLst>
              <a:ext uri="{FF2B5EF4-FFF2-40B4-BE49-F238E27FC236}">
                <a16:creationId xmlns:a16="http://schemas.microsoft.com/office/drawing/2014/main" id="{90FF3434-DC44-AA0B-C596-4B8143E0C628}"/>
              </a:ext>
            </a:extLst>
          </p:cNvPr>
          <p:cNvSpPr/>
          <p:nvPr/>
        </p:nvSpPr>
        <p:spPr>
          <a:xfrm rot="18900000">
            <a:off x="8528491" y="4706965"/>
            <a:ext cx="4341237" cy="721895"/>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Rectángulo redondeado 9">
            <a:extLst>
              <a:ext uri="{FF2B5EF4-FFF2-40B4-BE49-F238E27FC236}">
                <a16:creationId xmlns:a16="http://schemas.microsoft.com/office/drawing/2014/main" id="{051053AD-BD05-BA24-9E3F-C861E684ED8B}"/>
              </a:ext>
            </a:extLst>
          </p:cNvPr>
          <p:cNvSpPr/>
          <p:nvPr/>
        </p:nvSpPr>
        <p:spPr>
          <a:xfrm rot="18900000">
            <a:off x="855280" y="-686846"/>
            <a:ext cx="4341237" cy="721895"/>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3" name="Rectángulo redondeado 12">
            <a:extLst>
              <a:ext uri="{FF2B5EF4-FFF2-40B4-BE49-F238E27FC236}">
                <a16:creationId xmlns:a16="http://schemas.microsoft.com/office/drawing/2014/main" id="{E14CC0E2-AD75-F485-D299-C071DA7D540D}"/>
              </a:ext>
            </a:extLst>
          </p:cNvPr>
          <p:cNvSpPr/>
          <p:nvPr/>
        </p:nvSpPr>
        <p:spPr>
          <a:xfrm>
            <a:off x="852045" y="1286375"/>
            <a:ext cx="532618" cy="532618"/>
          </a:xfrm>
          <a:prstGeom prst="roundRect">
            <a:avLst>
              <a:gd name="adj" fmla="val 50000"/>
            </a:avLst>
          </a:prstGeom>
          <a:solidFill>
            <a:srgbClr val="2770B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4" name="Rectángulo redondeado 13">
            <a:extLst>
              <a:ext uri="{FF2B5EF4-FFF2-40B4-BE49-F238E27FC236}">
                <a16:creationId xmlns:a16="http://schemas.microsoft.com/office/drawing/2014/main" id="{296EF494-EA9F-1F1D-C7A8-4DC9A4815571}"/>
              </a:ext>
            </a:extLst>
          </p:cNvPr>
          <p:cNvSpPr/>
          <p:nvPr/>
        </p:nvSpPr>
        <p:spPr>
          <a:xfrm>
            <a:off x="11378389" y="5541356"/>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8" name="Imagen 17">
            <a:extLst>
              <a:ext uri="{FF2B5EF4-FFF2-40B4-BE49-F238E27FC236}">
                <a16:creationId xmlns:a16="http://schemas.microsoft.com/office/drawing/2014/main" id="{99BD27CA-0083-DB54-2423-AFB3E166A68F}"/>
              </a:ext>
            </a:extLst>
          </p:cNvPr>
          <p:cNvPicPr>
            <a:picLocks noChangeAspect="1"/>
          </p:cNvPicPr>
          <p:nvPr/>
        </p:nvPicPr>
        <p:blipFill>
          <a:blip r:embed="rId6"/>
          <a:stretch>
            <a:fillRect/>
          </a:stretch>
        </p:blipFill>
        <p:spPr>
          <a:xfrm>
            <a:off x="394076" y="5251456"/>
            <a:ext cx="4959558" cy="1336505"/>
          </a:xfrm>
          <a:prstGeom prst="rect">
            <a:avLst/>
          </a:prstGeom>
        </p:spPr>
      </p:pic>
      <p:sp>
        <p:nvSpPr>
          <p:cNvPr id="3" name="Title 2">
            <a:extLst>
              <a:ext uri="{FF2B5EF4-FFF2-40B4-BE49-F238E27FC236}">
                <a16:creationId xmlns:a16="http://schemas.microsoft.com/office/drawing/2014/main" id="{C36B1C8D-54A2-01B9-4511-FBF49F42C638}"/>
              </a:ext>
            </a:extLst>
          </p:cNvPr>
          <p:cNvSpPr txBox="1">
            <a:spLocks/>
          </p:cNvSpPr>
          <p:nvPr/>
        </p:nvSpPr>
        <p:spPr>
          <a:xfrm>
            <a:off x="341001" y="2826759"/>
            <a:ext cx="5880866" cy="1062126"/>
          </a:xfrm>
          <a:prstGeom prst="rect">
            <a:avLst/>
          </a:prstGeom>
        </p:spPr>
        <p:txBody>
          <a:bodyPr vert="horz" lIns="0" tIns="0" rIns="0" bIns="0" rtlCol="0" anchor="b" anchorCtr="0">
            <a:noAutofit/>
          </a:bodyPr>
          <a:lstStyle>
            <a:lvl1pPr algn="l" defTabSz="685434" rtl="0" eaLnBrk="1" latinLnBrk="0" hangingPunct="1">
              <a:lnSpc>
                <a:spcPct val="85000"/>
              </a:lnSpc>
              <a:spcBef>
                <a:spcPct val="0"/>
              </a:spcBef>
              <a:buNone/>
              <a:defRPr sz="3598" b="0" i="0" kern="1200">
                <a:solidFill>
                  <a:schemeClr val="bg1"/>
                </a:solidFill>
                <a:latin typeface="+mj-lt"/>
                <a:ea typeface="+mj-ea"/>
                <a:cs typeface="Arial" pitchFamily="34" charset="0"/>
              </a:defRPr>
            </a:lvl1pPr>
          </a:lstStyle>
          <a:p>
            <a:pPr marL="0" marR="0" lvl="0" indent="0" algn="l" defTabSz="685434" rtl="0" eaLnBrk="1" fontAlgn="auto" latinLnBrk="0" hangingPunct="1">
              <a:lnSpc>
                <a:spcPct val="85000"/>
              </a:lnSpc>
              <a:spcBef>
                <a:spcPct val="0"/>
              </a:spcBef>
              <a:spcAft>
                <a:spcPts val="0"/>
              </a:spcAft>
              <a:buClrTx/>
              <a:buSzTx/>
              <a:buFontTx/>
              <a:buNone/>
              <a:tabLst/>
              <a:defRPr/>
            </a:pPr>
            <a:r>
              <a:rPr kumimoji="0" lang="es-MX" sz="40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Century Gothic" panose="020B0502020202020204" pitchFamily="34" charset="0"/>
              </a:rPr>
              <a:t>Auditoria Financiera: Tendencias Emergentes</a:t>
            </a:r>
          </a:p>
        </p:txBody>
      </p:sp>
      <p:pic>
        <p:nvPicPr>
          <p:cNvPr id="20" name="Picture 19">
            <a:extLst>
              <a:ext uri="{FF2B5EF4-FFF2-40B4-BE49-F238E27FC236}">
                <a16:creationId xmlns:a16="http://schemas.microsoft.com/office/drawing/2014/main" id="{25D2C313-1E23-356C-7097-7F848D00092F}"/>
              </a:ext>
            </a:extLst>
          </p:cNvPr>
          <p:cNvPicPr>
            <a:picLocks noChangeAspect="1"/>
          </p:cNvPicPr>
          <p:nvPr/>
        </p:nvPicPr>
        <p:blipFill>
          <a:blip r:embed="rId7"/>
          <a:stretch>
            <a:fillRect/>
          </a:stretch>
        </p:blipFill>
        <p:spPr>
          <a:xfrm>
            <a:off x="5533277" y="5174645"/>
            <a:ext cx="1125445" cy="1183673"/>
          </a:xfrm>
          <a:prstGeom prst="rect">
            <a:avLst/>
          </a:prstGeom>
        </p:spPr>
      </p:pic>
    </p:spTree>
    <p:extLst>
      <p:ext uri="{BB962C8B-B14F-4D97-AF65-F5344CB8AC3E}">
        <p14:creationId xmlns:p14="http://schemas.microsoft.com/office/powerpoint/2010/main" val="2007548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CA946-3BE1-FB11-AE43-CAC2D70C74A2}"/>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4B0D4758-C197-4E08-E210-4CF668774C46}"/>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CD214709-D524-0613-9A36-6EB64BE6A333}"/>
              </a:ext>
            </a:extLst>
          </p:cNvPr>
          <p:cNvPicPr>
            <a:picLocks noChangeAspect="1"/>
          </p:cNvPicPr>
          <p:nvPr/>
        </p:nvPicPr>
        <p:blipFill>
          <a:blip r:embed="rId3"/>
          <a:stretch>
            <a:fillRect/>
          </a:stretch>
        </p:blipFill>
        <p:spPr>
          <a:xfrm>
            <a:off x="-175088" y="1272045"/>
            <a:ext cx="987001" cy="976273"/>
          </a:xfrm>
          <a:prstGeom prst="rect">
            <a:avLst/>
          </a:prstGeom>
        </p:spPr>
      </p:pic>
      <p:sp>
        <p:nvSpPr>
          <p:cNvPr id="23" name="CuadroTexto 22">
            <a:extLst>
              <a:ext uri="{FF2B5EF4-FFF2-40B4-BE49-F238E27FC236}">
                <a16:creationId xmlns:a16="http://schemas.microsoft.com/office/drawing/2014/main" id="{310063D6-EC3F-216E-D95A-C9892160A2DA}"/>
              </a:ext>
            </a:extLst>
          </p:cNvPr>
          <p:cNvSpPr txBox="1"/>
          <p:nvPr/>
        </p:nvSpPr>
        <p:spPr>
          <a:xfrm>
            <a:off x="644832" y="301423"/>
            <a:ext cx="7252984" cy="542200"/>
          </a:xfrm>
          <a:prstGeom prst="rect">
            <a:avLst/>
          </a:prstGeom>
          <a:noFill/>
        </p:spPr>
        <p:txBody>
          <a:bodyPr wrap="square" rtlCol="0">
            <a:spAutoFit/>
          </a:bodyPr>
          <a:lstStyle/>
          <a:p>
            <a:pPr lvl="0">
              <a:lnSpc>
                <a:spcPct val="115000"/>
              </a:lnSpc>
            </a:pPr>
            <a:r>
              <a:rPr lang="es-ES" sz="2800" b="1" kern="100" dirty="0">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Derivados sobre </a:t>
            </a:r>
            <a:r>
              <a:rPr lang="es-ES" sz="2800" b="1" kern="100" dirty="0" err="1">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Criptoactivos</a:t>
            </a:r>
            <a:r>
              <a:rPr lang="es-ES" sz="2800" b="1" kern="100" dirty="0">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 </a:t>
            </a:r>
            <a:endParaRPr lang="es-CO"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endParaRPr>
          </a:p>
        </p:txBody>
      </p:sp>
      <p:sp>
        <p:nvSpPr>
          <p:cNvPr id="32" name="Rectangle 31">
            <a:extLst>
              <a:ext uri="{FF2B5EF4-FFF2-40B4-BE49-F238E27FC236}">
                <a16:creationId xmlns:a16="http://schemas.microsoft.com/office/drawing/2014/main" id="{29C1EDD5-262E-4C4B-1CC8-49AA0A2F0401}"/>
              </a:ext>
            </a:extLst>
          </p:cNvPr>
          <p:cNvSpPr/>
          <p:nvPr/>
        </p:nvSpPr>
        <p:spPr>
          <a:xfrm>
            <a:off x="0" y="1323180"/>
            <a:ext cx="11878054" cy="874002"/>
          </a:xfrm>
          <a:prstGeom prst="rect">
            <a:avLst/>
          </a:prstGeom>
          <a:noFill/>
          <a:ln w="28575" cap="flat" cmpd="sng" algn="ctr">
            <a:noFill/>
            <a:prstDash val="solid"/>
          </a:ln>
          <a:effectLst/>
        </p:spPr>
        <p:txBody>
          <a:bodyPr lIns="900000" rIns="360000" rtlCol="0" anchor="ctr"/>
          <a:lstStyle/>
          <a:p>
            <a:pPr algn="just" defTabSz="913943" eaLnBrk="0" hangingPunct="0">
              <a:defRPr/>
            </a:pPr>
            <a:r>
              <a:rPr lang="en-US" sz="1400" i="1" kern="0" dirty="0">
                <a:solidFill>
                  <a:srgbClr val="5F2364"/>
                </a:solidFill>
                <a:latin typeface="Century Gothic" panose="020B0502020202020204" pitchFamily="34" charset="0"/>
                <a:cs typeface="Tahoma" pitchFamily="34" charset="0"/>
              </a:rPr>
              <a:t>L</a:t>
            </a:r>
            <a:r>
              <a:rPr lang="es-MX" sz="1400" i="1" kern="0" dirty="0">
                <a:solidFill>
                  <a:srgbClr val="5F2364"/>
                </a:solidFill>
                <a:latin typeface="Century Gothic" panose="020B0502020202020204" pitchFamily="34" charset="0"/>
                <a:cs typeface="Tahoma" pitchFamily="34" charset="0"/>
              </a:rPr>
              <a:t>a gestión eficaz del riesgo en los derivados sobre </a:t>
            </a:r>
            <a:r>
              <a:rPr lang="es-MX" sz="1400" i="1" kern="0" dirty="0" err="1">
                <a:solidFill>
                  <a:srgbClr val="5F2364"/>
                </a:solidFill>
                <a:latin typeface="Century Gothic" panose="020B0502020202020204" pitchFamily="34" charset="0"/>
                <a:cs typeface="Tahoma" pitchFamily="34" charset="0"/>
              </a:rPr>
              <a:t>criptoactivos</a:t>
            </a:r>
            <a:r>
              <a:rPr lang="es-MX" sz="1400" i="1" kern="0" dirty="0">
                <a:solidFill>
                  <a:srgbClr val="5F2364"/>
                </a:solidFill>
                <a:latin typeface="Century Gothic" panose="020B0502020202020204" pitchFamily="34" charset="0"/>
                <a:cs typeface="Tahoma" pitchFamily="34" charset="0"/>
              </a:rPr>
              <a:t> es crucial dada la alta volatilidad, el apalancamiento y la complejidad de estos instrumentos. Los roles de segunda y tercera línea de defensa juegan un papel fundamental para garantizar la protección contra pérdidas significativas y promover la toma de decisiones informada en un mercado en rápida evolución.</a:t>
            </a:r>
          </a:p>
        </p:txBody>
      </p:sp>
      <p:cxnSp>
        <p:nvCxnSpPr>
          <p:cNvPr id="39" name="Straight Connector 38">
            <a:extLst>
              <a:ext uri="{FF2B5EF4-FFF2-40B4-BE49-F238E27FC236}">
                <a16:creationId xmlns:a16="http://schemas.microsoft.com/office/drawing/2014/main" id="{0DD47CEC-5C06-31FB-FA51-606B74F246A4}"/>
              </a:ext>
            </a:extLst>
          </p:cNvPr>
          <p:cNvCxnSpPr>
            <a:cxnSpLocks/>
          </p:cNvCxnSpPr>
          <p:nvPr/>
        </p:nvCxnSpPr>
        <p:spPr>
          <a:xfrm>
            <a:off x="6276889" y="2455416"/>
            <a:ext cx="0" cy="3866002"/>
          </a:xfrm>
          <a:prstGeom prst="line">
            <a:avLst/>
          </a:prstGeom>
          <a:ln w="28575">
            <a:solidFill>
              <a:srgbClr val="E9488B"/>
            </a:solidFill>
            <a:prstDash val="solid"/>
          </a:ln>
        </p:spPr>
      </p:cxnSp>
      <p:sp>
        <p:nvSpPr>
          <p:cNvPr id="40" name="Content Placeholder 4">
            <a:extLst>
              <a:ext uri="{FF2B5EF4-FFF2-40B4-BE49-F238E27FC236}">
                <a16:creationId xmlns:a16="http://schemas.microsoft.com/office/drawing/2014/main" id="{0429D1CA-EC23-E441-919A-875EF3751A68}"/>
              </a:ext>
            </a:extLst>
          </p:cNvPr>
          <p:cNvSpPr txBox="1">
            <a:spLocks/>
          </p:cNvSpPr>
          <p:nvPr/>
        </p:nvSpPr>
        <p:spPr>
          <a:xfrm>
            <a:off x="861258" y="2544316"/>
            <a:ext cx="5077769" cy="3866002"/>
          </a:xfrm>
          <a:prstGeom prst="rect">
            <a:avLst/>
          </a:prstGeom>
        </p:spPr>
        <p:txBody>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lgn="just">
              <a:buClr>
                <a:srgbClr val="5F2364"/>
              </a:buClr>
              <a:buNone/>
            </a:pPr>
            <a:r>
              <a:rPr kumimoji="0" lang="es-MX" sz="1400" b="0" i="0" u="none" strike="noStrike" kern="1200" cap="none" spc="0" normalizeH="0" baseline="0" noProof="0" dirty="0">
                <a:ln>
                  <a:noFill/>
                </a:ln>
                <a:solidFill>
                  <a:schemeClr val="tx1"/>
                </a:solidFill>
                <a:effectLst/>
                <a:uLnTx/>
                <a:uFillTx/>
                <a:latin typeface="Century Gothic" panose="020B0502020202020204" pitchFamily="34" charset="0"/>
              </a:rPr>
              <a:t>El mercado centralizado se compone principalmente de opciones, futuros y swaps perpetuos negociados en bolsas. En el caso de los derivados referenciados a BTC y ETH, los futuros y swaps perpetuos representan aproximadamente el 96.2% del volumen de negociación mensual.</a:t>
            </a:r>
          </a:p>
          <a:p>
            <a:pPr marL="0" indent="0" algn="just">
              <a:buClr>
                <a:srgbClr val="5F2364"/>
              </a:buClr>
              <a:buNone/>
            </a:pPr>
            <a:endParaRPr kumimoji="0" lang="es-MX" sz="1400" b="0" i="0" u="none" strike="noStrike" kern="1200" cap="none" spc="0" normalizeH="0" baseline="0" noProof="0" dirty="0">
              <a:ln>
                <a:noFill/>
              </a:ln>
              <a:solidFill>
                <a:schemeClr val="tx1"/>
              </a:solidFill>
              <a:effectLst/>
              <a:uLnTx/>
              <a:uFillTx/>
              <a:latin typeface="Century Gothic" panose="020B0502020202020204" pitchFamily="34" charset="0"/>
            </a:endParaRPr>
          </a:p>
          <a:p>
            <a:pPr algn="just">
              <a:buClr>
                <a:srgbClr val="5F2364"/>
              </a:buClr>
              <a:buFont typeface="Wingdings" panose="05000000000000000000" pitchFamily="2" charset="2"/>
              <a:buChar char="§"/>
            </a:pPr>
            <a:r>
              <a:rPr kumimoji="0" lang="es-MX" sz="1300" b="0" i="0" u="none" strike="noStrike" kern="1200" cap="none" spc="0" normalizeH="0" baseline="0" noProof="0" dirty="0">
                <a:ln>
                  <a:noFill/>
                </a:ln>
                <a:solidFill>
                  <a:schemeClr val="tx1"/>
                </a:solidFill>
                <a:effectLst/>
                <a:uLnTx/>
                <a:uFillTx/>
                <a:latin typeface="Century Gothic" panose="020B0502020202020204" pitchFamily="34" charset="0"/>
              </a:rPr>
              <a:t>Mercado de Estados Unidos : Representa menos del 5% del volumen mensual. La CME (</a:t>
            </a:r>
            <a:r>
              <a:rPr kumimoji="0" lang="es-MX" sz="1300" b="0" i="1" u="none" strike="noStrike" kern="1200" cap="none" spc="0" normalizeH="0" baseline="0" noProof="0" dirty="0">
                <a:ln>
                  <a:noFill/>
                </a:ln>
                <a:solidFill>
                  <a:schemeClr val="tx1"/>
                </a:solidFill>
                <a:effectLst/>
                <a:uLnTx/>
                <a:uFillTx/>
                <a:latin typeface="Century Gothic" panose="020B0502020202020204" pitchFamily="34" charset="0"/>
              </a:rPr>
              <a:t>Chicago </a:t>
            </a:r>
            <a:r>
              <a:rPr kumimoji="0" lang="es-MX" sz="1300" b="0" i="1" u="none" strike="noStrike" kern="1200" cap="none" spc="0" normalizeH="0" baseline="0" noProof="0" dirty="0" err="1">
                <a:ln>
                  <a:noFill/>
                </a:ln>
                <a:solidFill>
                  <a:schemeClr val="tx1"/>
                </a:solidFill>
                <a:effectLst/>
                <a:uLnTx/>
                <a:uFillTx/>
                <a:latin typeface="Century Gothic" panose="020B0502020202020204" pitchFamily="34" charset="0"/>
              </a:rPr>
              <a:t>Mercantile</a:t>
            </a:r>
            <a:r>
              <a:rPr kumimoji="0" lang="es-MX" sz="1300" b="0" i="1" u="none" strike="noStrike" kern="1200" cap="none" spc="0" normalizeH="0" baseline="0" noProof="0" dirty="0">
                <a:ln>
                  <a:noFill/>
                </a:ln>
                <a:solidFill>
                  <a:schemeClr val="tx1"/>
                </a:solidFill>
                <a:effectLst/>
                <a:uLnTx/>
                <a:uFillTx/>
                <a:latin typeface="Century Gothic" panose="020B0502020202020204" pitchFamily="34" charset="0"/>
              </a:rPr>
              <a:t> Exchange</a:t>
            </a:r>
            <a:r>
              <a:rPr kumimoji="0" lang="es-MX" sz="1300" b="0" i="0" u="none" strike="noStrike" kern="1200" cap="none" spc="0" normalizeH="0" baseline="0" noProof="0" dirty="0">
                <a:ln>
                  <a:noFill/>
                </a:ln>
                <a:solidFill>
                  <a:schemeClr val="tx1"/>
                </a:solidFill>
                <a:effectLst/>
                <a:uLnTx/>
                <a:uFillTx/>
                <a:latin typeface="Century Gothic" panose="020B0502020202020204" pitchFamily="34" charset="0"/>
              </a:rPr>
              <a:t>) es la bolsa dominante, con más del 60% del volumen de derivados en el país.</a:t>
            </a:r>
          </a:p>
          <a:p>
            <a:pPr algn="just">
              <a:buClr>
                <a:srgbClr val="5F2364"/>
              </a:buClr>
              <a:buFont typeface="Wingdings" panose="05000000000000000000" pitchFamily="2" charset="2"/>
              <a:buChar char="§"/>
            </a:pPr>
            <a:endParaRPr kumimoji="0" lang="es-MX" sz="1300" b="0" i="0" u="none" strike="noStrike" kern="1200" cap="none" spc="0" normalizeH="0" baseline="0" noProof="0" dirty="0">
              <a:ln>
                <a:noFill/>
              </a:ln>
              <a:solidFill>
                <a:schemeClr val="tx1"/>
              </a:solidFill>
              <a:effectLst/>
              <a:uLnTx/>
              <a:uFillTx/>
              <a:latin typeface="Century Gothic" panose="020B0502020202020204" pitchFamily="34" charset="0"/>
            </a:endParaRPr>
          </a:p>
          <a:p>
            <a:pPr algn="just">
              <a:buClr>
                <a:srgbClr val="5F2364"/>
              </a:buClr>
              <a:buFont typeface="Wingdings" panose="05000000000000000000" pitchFamily="2" charset="2"/>
              <a:buChar char="§"/>
            </a:pPr>
            <a:r>
              <a:rPr kumimoji="0" lang="es-MX" sz="1300" b="0" i="0" u="none" strike="noStrike" kern="1200" cap="none" spc="0" normalizeH="0" baseline="0" noProof="0" dirty="0">
                <a:ln>
                  <a:noFill/>
                </a:ln>
                <a:solidFill>
                  <a:schemeClr val="tx1"/>
                </a:solidFill>
                <a:effectLst/>
                <a:uLnTx/>
                <a:uFillTx/>
                <a:latin typeface="Century Gothic" panose="020B0502020202020204" pitchFamily="34" charset="0"/>
              </a:rPr>
              <a:t>Mercado fuera de EE. UU.: Representa más del 95% del volumen de negociación mensual global de derivados. A septiembre de 2023, las tres principales bolsas concentran una cuota de mercado del 84.7%.</a:t>
            </a:r>
          </a:p>
          <a:p>
            <a:pPr marL="534639" marR="0" lvl="1" indent="-267319"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pic>
        <p:nvPicPr>
          <p:cNvPr id="42" name="Picture 41">
            <a:extLst>
              <a:ext uri="{FF2B5EF4-FFF2-40B4-BE49-F238E27FC236}">
                <a16:creationId xmlns:a16="http://schemas.microsoft.com/office/drawing/2014/main" id="{79D2A608-73E8-D1D2-CF7E-330B2AAD90BC}"/>
              </a:ext>
            </a:extLst>
          </p:cNvPr>
          <p:cNvPicPr>
            <a:picLocks noChangeAspect="1"/>
          </p:cNvPicPr>
          <p:nvPr/>
        </p:nvPicPr>
        <p:blipFill>
          <a:blip r:embed="rId4"/>
          <a:stretch>
            <a:fillRect/>
          </a:stretch>
        </p:blipFill>
        <p:spPr>
          <a:xfrm>
            <a:off x="6991146" y="2455416"/>
            <a:ext cx="4496209" cy="3817398"/>
          </a:xfrm>
          <a:prstGeom prst="rect">
            <a:avLst/>
          </a:prstGeom>
        </p:spPr>
      </p:pic>
      <p:sp>
        <p:nvSpPr>
          <p:cNvPr id="44" name="TextBox 43">
            <a:extLst>
              <a:ext uri="{FF2B5EF4-FFF2-40B4-BE49-F238E27FC236}">
                <a16:creationId xmlns:a16="http://schemas.microsoft.com/office/drawing/2014/main" id="{2FE634FF-6F0F-3476-2F82-79434642D6DE}"/>
              </a:ext>
            </a:extLst>
          </p:cNvPr>
          <p:cNvSpPr txBox="1"/>
          <p:nvPr/>
        </p:nvSpPr>
        <p:spPr>
          <a:xfrm>
            <a:off x="7620001" y="6260114"/>
            <a:ext cx="3517900" cy="461665"/>
          </a:xfrm>
          <a:prstGeom prst="rect">
            <a:avLst/>
          </a:prstGeom>
          <a:noFill/>
        </p:spPr>
        <p:txBody>
          <a:bodyPr wrap="square">
            <a:spAutoFit/>
          </a:bodyPr>
          <a:lstStyle/>
          <a:p>
            <a:pPr algn="ctr"/>
            <a:r>
              <a:rPr lang="en-US" sz="1200" i="1" kern="0" dirty="0">
                <a:solidFill>
                  <a:srgbClr val="5F2364"/>
                </a:solidFill>
                <a:latin typeface="Century Gothic" panose="020B0502020202020204" pitchFamily="34" charset="0"/>
                <a:cs typeface="Tahoma" pitchFamily="34" charset="0"/>
              </a:rPr>
              <a:t>BTCc1  CME Bitcoin Electronic Commodity Future Continuation </a:t>
            </a:r>
            <a:endParaRPr lang="es-MX" sz="1200" i="1" kern="0" dirty="0">
              <a:solidFill>
                <a:srgbClr val="5F2364"/>
              </a:solidFill>
              <a:latin typeface="Century Gothic" panose="020B0502020202020204" pitchFamily="34" charset="0"/>
              <a:cs typeface="Tahoma" pitchFamily="34" charset="0"/>
            </a:endParaRPr>
          </a:p>
        </p:txBody>
      </p:sp>
    </p:spTree>
    <p:extLst>
      <p:ext uri="{BB962C8B-B14F-4D97-AF65-F5344CB8AC3E}">
        <p14:creationId xmlns:p14="http://schemas.microsoft.com/office/powerpoint/2010/main" val="27094090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27890-5A0F-0394-2460-8D8CFD4C3992}"/>
            </a:ext>
          </a:extLst>
        </p:cNvPr>
        <p:cNvGrpSpPr/>
        <p:nvPr/>
      </p:nvGrpSpPr>
      <p:grpSpPr>
        <a:xfrm>
          <a:off x="0" y="0"/>
          <a:ext cx="0" cy="0"/>
          <a:chOff x="0" y="0"/>
          <a:chExt cx="0" cy="0"/>
        </a:xfrm>
      </p:grpSpPr>
      <p:sp>
        <p:nvSpPr>
          <p:cNvPr id="11" name="Rectángulo 10">
            <a:extLst>
              <a:ext uri="{FF2B5EF4-FFF2-40B4-BE49-F238E27FC236}">
                <a16:creationId xmlns:a16="http://schemas.microsoft.com/office/drawing/2014/main" id="{370D584C-554F-434D-7DA9-32F2AAD154B2}"/>
              </a:ext>
            </a:extLst>
          </p:cNvPr>
          <p:cNvSpPr/>
          <p:nvPr/>
        </p:nvSpPr>
        <p:spPr>
          <a:xfrm>
            <a:off x="10779" y="-10946"/>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solidFill>
                <a:srgbClr val="5F2364"/>
              </a:solidFill>
            </a:endParaRPr>
          </a:p>
        </p:txBody>
      </p:sp>
      <p:sp>
        <p:nvSpPr>
          <p:cNvPr id="4" name="Rectángulo 3">
            <a:extLst>
              <a:ext uri="{FF2B5EF4-FFF2-40B4-BE49-F238E27FC236}">
                <a16:creationId xmlns:a16="http://schemas.microsoft.com/office/drawing/2014/main" id="{D06FB1AB-7FC0-C51C-7D5A-63E2BBC7078B}"/>
              </a:ext>
            </a:extLst>
          </p:cNvPr>
          <p:cNvSpPr/>
          <p:nvPr/>
        </p:nvSpPr>
        <p:spPr>
          <a:xfrm>
            <a:off x="-92" y="0"/>
            <a:ext cx="3454492" cy="6858000"/>
          </a:xfrm>
          <a:prstGeom prst="rect">
            <a:avLst/>
          </a:prstGeom>
          <a:gradFill flip="none" rotWithShape="1">
            <a:gsLst>
              <a:gs pos="1000">
                <a:srgbClr val="525C9C"/>
              </a:gs>
              <a:gs pos="100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1" name="CuadroTexto 30">
            <a:extLst>
              <a:ext uri="{FF2B5EF4-FFF2-40B4-BE49-F238E27FC236}">
                <a16:creationId xmlns:a16="http://schemas.microsoft.com/office/drawing/2014/main" id="{63997F3E-0A63-21CE-F412-97BE40306563}"/>
              </a:ext>
            </a:extLst>
          </p:cNvPr>
          <p:cNvSpPr txBox="1"/>
          <p:nvPr/>
        </p:nvSpPr>
        <p:spPr>
          <a:xfrm>
            <a:off x="498978" y="497305"/>
            <a:ext cx="3269468" cy="1037720"/>
          </a:xfrm>
          <a:prstGeom prst="rect">
            <a:avLst/>
          </a:prstGeom>
          <a:noFill/>
        </p:spPr>
        <p:txBody>
          <a:bodyPr wrap="square" rtlCol="0">
            <a:spAutoFit/>
          </a:bodyPr>
          <a:lstStyle/>
          <a:p>
            <a:pPr>
              <a:lnSpc>
                <a:spcPct val="115000"/>
              </a:lnSpc>
              <a:spcAft>
                <a:spcPts val="800"/>
              </a:spcAft>
            </a:pP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Derivados sobre </a:t>
            </a:r>
            <a:r>
              <a:rPr lang="es-CO" sz="2800" b="1" kern="100" dirty="0" err="1">
                <a:solidFill>
                  <a:schemeClr val="bg1"/>
                </a:solidFill>
                <a:latin typeface="Century Gothic" panose="020B0502020202020204" pitchFamily="34" charset="0"/>
                <a:ea typeface="Tahoma" panose="020B0604030504040204" pitchFamily="34" charset="0"/>
                <a:cs typeface="Tahoma" panose="020B0604030504040204" pitchFamily="34" charset="0"/>
              </a:rPr>
              <a:t>Criptoactivos</a:t>
            </a: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p>
        </p:txBody>
      </p:sp>
      <p:sp>
        <p:nvSpPr>
          <p:cNvPr id="38" name="Rectángulo redondeado 37">
            <a:extLst>
              <a:ext uri="{FF2B5EF4-FFF2-40B4-BE49-F238E27FC236}">
                <a16:creationId xmlns:a16="http://schemas.microsoft.com/office/drawing/2014/main" id="{6DEBBDF6-50A4-4763-6908-450BD4BC7524}"/>
              </a:ext>
            </a:extLst>
          </p:cNvPr>
          <p:cNvSpPr/>
          <p:nvPr/>
        </p:nvSpPr>
        <p:spPr>
          <a:xfrm rot="18900000">
            <a:off x="603160" y="4653067"/>
            <a:ext cx="1392919" cy="231626"/>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39" name="Rectángulo redondeado 38">
            <a:extLst>
              <a:ext uri="{FF2B5EF4-FFF2-40B4-BE49-F238E27FC236}">
                <a16:creationId xmlns:a16="http://schemas.microsoft.com/office/drawing/2014/main" id="{69B8D0E3-FFC3-7A67-68C0-7BA5F4BD548F}"/>
              </a:ext>
            </a:extLst>
          </p:cNvPr>
          <p:cNvSpPr/>
          <p:nvPr/>
        </p:nvSpPr>
        <p:spPr>
          <a:xfrm rot="18900000">
            <a:off x="-553587" y="5865140"/>
            <a:ext cx="3139517" cy="522064"/>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1" name="Rectángulo redondeado 40">
            <a:extLst>
              <a:ext uri="{FF2B5EF4-FFF2-40B4-BE49-F238E27FC236}">
                <a16:creationId xmlns:a16="http://schemas.microsoft.com/office/drawing/2014/main" id="{3DB38DD2-DFFF-A9F5-D958-9CDA770DC567}"/>
              </a:ext>
            </a:extLst>
          </p:cNvPr>
          <p:cNvSpPr/>
          <p:nvPr/>
        </p:nvSpPr>
        <p:spPr>
          <a:xfrm rot="18900000">
            <a:off x="10204017" y="6174626"/>
            <a:ext cx="2525453" cy="419953"/>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2" name="Imagen 41">
            <a:extLst>
              <a:ext uri="{FF2B5EF4-FFF2-40B4-BE49-F238E27FC236}">
                <a16:creationId xmlns:a16="http://schemas.microsoft.com/office/drawing/2014/main" id="{072C682F-E680-0FE1-E943-4DB4F8C6A520}"/>
              </a:ext>
            </a:extLst>
          </p:cNvPr>
          <p:cNvPicPr>
            <a:picLocks noChangeAspect="1"/>
          </p:cNvPicPr>
          <p:nvPr/>
        </p:nvPicPr>
        <p:blipFill>
          <a:blip r:embed="rId3"/>
          <a:stretch>
            <a:fillRect/>
          </a:stretch>
        </p:blipFill>
        <p:spPr>
          <a:xfrm>
            <a:off x="-221175" y="3716338"/>
            <a:ext cx="822431" cy="813492"/>
          </a:xfrm>
          <a:prstGeom prst="rect">
            <a:avLst/>
          </a:prstGeom>
        </p:spPr>
      </p:pic>
      <p:sp>
        <p:nvSpPr>
          <p:cNvPr id="43" name="Rectángulo redondeado 42">
            <a:extLst>
              <a:ext uri="{FF2B5EF4-FFF2-40B4-BE49-F238E27FC236}">
                <a16:creationId xmlns:a16="http://schemas.microsoft.com/office/drawing/2014/main" id="{EFF2D76A-BCF5-C58F-57F4-CC4A7DFF3F51}"/>
              </a:ext>
            </a:extLst>
          </p:cNvPr>
          <p:cNvSpPr/>
          <p:nvPr/>
        </p:nvSpPr>
        <p:spPr>
          <a:xfrm>
            <a:off x="2219778" y="4362134"/>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2" name="TextBox 1">
            <a:extLst>
              <a:ext uri="{FF2B5EF4-FFF2-40B4-BE49-F238E27FC236}">
                <a16:creationId xmlns:a16="http://schemas.microsoft.com/office/drawing/2014/main" id="{A0F8F1FE-3444-A413-35EE-28EAA6CB5BC2}"/>
              </a:ext>
            </a:extLst>
          </p:cNvPr>
          <p:cNvSpPr txBox="1"/>
          <p:nvPr/>
        </p:nvSpPr>
        <p:spPr>
          <a:xfrm>
            <a:off x="498978" y="1581862"/>
            <a:ext cx="2924307" cy="2677656"/>
          </a:xfrm>
          <a:prstGeom prst="rect">
            <a:avLst/>
          </a:prstGeom>
          <a:noFill/>
        </p:spPr>
        <p:txBody>
          <a:bodyPr wrap="square">
            <a:spAutoFit/>
          </a:bodyPr>
          <a:lstStyle/>
          <a:p>
            <a:pPr marL="0" marR="0" lvl="0" indent="0" algn="just" defTabSz="913029" eaLnBrk="1" fontAlgn="auto" latinLnBrk="0" hangingPunct="1">
              <a:lnSpc>
                <a:spcPct val="100000"/>
              </a:lnSpc>
              <a:spcBef>
                <a:spcPts val="600"/>
              </a:spcBef>
              <a:spcAft>
                <a:spcPts val="0"/>
              </a:spcAft>
              <a:buClr>
                <a:srgbClr val="FFE600"/>
              </a:buClr>
              <a:buSzPct val="100000"/>
              <a:buFontTx/>
              <a:buNone/>
              <a:tabLst/>
              <a:defRPr/>
            </a:pP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Los derivados con </a:t>
            </a:r>
            <a:r>
              <a:rPr kumimoji="0" lang="es-MX" sz="1400" b="0" i="1" u="none" strike="noStrike" kern="0" cap="none" spc="0" normalizeH="0" baseline="0" noProof="0" dirty="0" err="1">
                <a:ln>
                  <a:noFill/>
                </a:ln>
                <a:solidFill>
                  <a:schemeClr val="bg1"/>
                </a:solidFill>
                <a:effectLst/>
                <a:uLnTx/>
                <a:uFillTx/>
                <a:latin typeface="Century Gothic" panose="020B0502020202020204" pitchFamily="34" charset="0"/>
              </a:rPr>
              <a:t>criptoactivos</a:t>
            </a: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 han ganado popularidad en los últimos años, ofreciendo a los inversores la oportunidad de obtener exposición a estos activos sin la necesidad de poseerlos físicamente. Sin embargo, al igual que otros productos financieros, estos derivados conllevan varios tipos de riesgos que deben ser comprendidos y gestionados.</a:t>
            </a:r>
          </a:p>
        </p:txBody>
      </p:sp>
      <p:sp>
        <p:nvSpPr>
          <p:cNvPr id="24" name="Rectangle: Rounded Corners 23">
            <a:extLst>
              <a:ext uri="{FF2B5EF4-FFF2-40B4-BE49-F238E27FC236}">
                <a16:creationId xmlns:a16="http://schemas.microsoft.com/office/drawing/2014/main" id="{DC25E4C8-B1EA-775F-EB76-86A94248B03C}"/>
              </a:ext>
            </a:extLst>
          </p:cNvPr>
          <p:cNvSpPr/>
          <p:nvPr/>
        </p:nvSpPr>
        <p:spPr>
          <a:xfrm>
            <a:off x="4049471" y="1581862"/>
            <a:ext cx="7289800" cy="1239835"/>
          </a:xfrm>
          <a:prstGeom prst="roundRect">
            <a:avLst/>
          </a:prstGeom>
          <a:noFill/>
          <a:ln>
            <a:solidFill>
              <a:srgbClr val="E948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5" name="TextBox 24">
            <a:extLst>
              <a:ext uri="{FF2B5EF4-FFF2-40B4-BE49-F238E27FC236}">
                <a16:creationId xmlns:a16="http://schemas.microsoft.com/office/drawing/2014/main" id="{CA969C1C-E34E-47B7-CF70-0F9C3D958137}"/>
              </a:ext>
            </a:extLst>
          </p:cNvPr>
          <p:cNvSpPr txBox="1"/>
          <p:nvPr/>
        </p:nvSpPr>
        <p:spPr>
          <a:xfrm>
            <a:off x="4060342" y="1880146"/>
            <a:ext cx="7289800" cy="738664"/>
          </a:xfrm>
          <a:prstGeom prst="rect">
            <a:avLst/>
          </a:prstGeom>
          <a:noFill/>
        </p:spPr>
        <p:txBody>
          <a:bodyPr wrap="square" rtlCol="0">
            <a:spAutoFit/>
          </a:bodyPr>
          <a:lstStyle/>
          <a:p>
            <a:pPr algn="just"/>
            <a:r>
              <a:rPr lang="es-MX" sz="1400" dirty="0">
                <a:solidFill>
                  <a:schemeClr val="tx2"/>
                </a:solidFill>
                <a:latin typeface="Century Gothic" panose="020B0502020202020204" pitchFamily="34" charset="0"/>
              </a:rPr>
              <a:t>Surge de posibles pérdidas financieras por fluctuaciones desfavorables en los precios del mercado. La valoración precisa de los derivados es vital para calcular las ganancias y pérdidas diarias (P&amp;L) y estimar métricas como el valor en riesgo.</a:t>
            </a:r>
            <a:endParaRPr lang="es-MX" sz="1400" dirty="0"/>
          </a:p>
        </p:txBody>
      </p:sp>
      <p:sp>
        <p:nvSpPr>
          <p:cNvPr id="22" name="TextBox 21">
            <a:extLst>
              <a:ext uri="{FF2B5EF4-FFF2-40B4-BE49-F238E27FC236}">
                <a16:creationId xmlns:a16="http://schemas.microsoft.com/office/drawing/2014/main" id="{A212019F-196A-2E14-213F-E7B086B3D484}"/>
              </a:ext>
            </a:extLst>
          </p:cNvPr>
          <p:cNvSpPr txBox="1"/>
          <p:nvPr/>
        </p:nvSpPr>
        <p:spPr>
          <a:xfrm>
            <a:off x="3792017" y="1358161"/>
            <a:ext cx="2747130" cy="400110"/>
          </a:xfrm>
          <a:prstGeom prst="rect">
            <a:avLst/>
          </a:prstGeom>
          <a:solidFill>
            <a:srgbClr val="F9F8FA"/>
          </a:solidFill>
        </p:spPr>
        <p:txBody>
          <a:bodyPr wrap="square">
            <a:spAutoFit/>
          </a:bodyPr>
          <a:lstStyle/>
          <a:p>
            <a:r>
              <a:rPr lang="en-US" sz="2000" b="1" dirty="0">
                <a:solidFill>
                  <a:srgbClr val="5F2364"/>
                </a:solidFill>
                <a:latin typeface="Century Gothic" panose="020B0502020202020204" pitchFamily="34" charset="0"/>
              </a:rPr>
              <a:t>Riesgo de Mercado </a:t>
            </a:r>
            <a:endParaRPr lang="en-GB" sz="2000" b="1" dirty="0">
              <a:solidFill>
                <a:srgbClr val="5F2364"/>
              </a:solidFill>
              <a:latin typeface="Century Gothic" panose="020B0502020202020204" pitchFamily="34" charset="0"/>
            </a:endParaRPr>
          </a:p>
        </p:txBody>
      </p:sp>
      <p:sp>
        <p:nvSpPr>
          <p:cNvPr id="26" name="Rectangle: Rounded Corners 25">
            <a:extLst>
              <a:ext uri="{FF2B5EF4-FFF2-40B4-BE49-F238E27FC236}">
                <a16:creationId xmlns:a16="http://schemas.microsoft.com/office/drawing/2014/main" id="{C83C6A2E-070D-A2E4-98EA-DE5FD76E6055}"/>
              </a:ext>
            </a:extLst>
          </p:cNvPr>
          <p:cNvSpPr/>
          <p:nvPr/>
        </p:nvSpPr>
        <p:spPr>
          <a:xfrm>
            <a:off x="4049471" y="3242870"/>
            <a:ext cx="7289800" cy="1239835"/>
          </a:xfrm>
          <a:prstGeom prst="roundRect">
            <a:avLst/>
          </a:prstGeom>
          <a:noFill/>
          <a:ln>
            <a:solidFill>
              <a:srgbClr val="E948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7" name="TextBox 26">
            <a:extLst>
              <a:ext uri="{FF2B5EF4-FFF2-40B4-BE49-F238E27FC236}">
                <a16:creationId xmlns:a16="http://schemas.microsoft.com/office/drawing/2014/main" id="{33EBB720-A8D4-EB8A-4950-F00BABAA7735}"/>
              </a:ext>
            </a:extLst>
          </p:cNvPr>
          <p:cNvSpPr txBox="1"/>
          <p:nvPr/>
        </p:nvSpPr>
        <p:spPr>
          <a:xfrm>
            <a:off x="4060342" y="3477654"/>
            <a:ext cx="7289800" cy="954107"/>
          </a:xfrm>
          <a:prstGeom prst="rect">
            <a:avLst/>
          </a:prstGeom>
          <a:noFill/>
        </p:spPr>
        <p:txBody>
          <a:bodyPr wrap="square" rtlCol="0">
            <a:spAutoFit/>
          </a:bodyPr>
          <a:lstStyle/>
          <a:p>
            <a:pPr algn="just"/>
            <a:r>
              <a:rPr lang="es-MX" sz="1400" dirty="0">
                <a:solidFill>
                  <a:schemeClr val="tx2"/>
                </a:solidFill>
                <a:latin typeface="Century Gothic" panose="020B0502020202020204" pitchFamily="34" charset="0"/>
              </a:rPr>
              <a:t>Es el riesgo de pérdida financiera por la falta de voluntad o incapacidad de una contraparte para cumplir sus obligaciones. Para su determinación, los modelos suelen simular factores del mercado y valorar los activos en distintos puntos del tiempo para calcular las exposiciones futuras potenciales.</a:t>
            </a:r>
            <a:endParaRPr lang="es-MX" sz="1400" dirty="0"/>
          </a:p>
        </p:txBody>
      </p:sp>
      <p:sp>
        <p:nvSpPr>
          <p:cNvPr id="28" name="TextBox 27">
            <a:extLst>
              <a:ext uri="{FF2B5EF4-FFF2-40B4-BE49-F238E27FC236}">
                <a16:creationId xmlns:a16="http://schemas.microsoft.com/office/drawing/2014/main" id="{ED2DDA78-F36C-24E9-7BB9-904DE05B27A5}"/>
              </a:ext>
            </a:extLst>
          </p:cNvPr>
          <p:cNvSpPr txBox="1"/>
          <p:nvPr/>
        </p:nvSpPr>
        <p:spPr>
          <a:xfrm>
            <a:off x="3792017" y="3019169"/>
            <a:ext cx="2747130" cy="400110"/>
          </a:xfrm>
          <a:prstGeom prst="rect">
            <a:avLst/>
          </a:prstGeom>
          <a:solidFill>
            <a:srgbClr val="F9F8FA"/>
          </a:solidFill>
        </p:spPr>
        <p:txBody>
          <a:bodyPr wrap="square">
            <a:spAutoFit/>
          </a:bodyPr>
          <a:lstStyle/>
          <a:p>
            <a:r>
              <a:rPr lang="en-US" sz="2000" b="1" dirty="0">
                <a:solidFill>
                  <a:srgbClr val="5F2364"/>
                </a:solidFill>
                <a:latin typeface="Century Gothic" panose="020B0502020202020204" pitchFamily="34" charset="0"/>
              </a:rPr>
              <a:t>Riesgo de Crédito</a:t>
            </a:r>
            <a:endParaRPr lang="en-GB" sz="2000" b="1" dirty="0">
              <a:solidFill>
                <a:srgbClr val="5F2364"/>
              </a:solidFill>
              <a:latin typeface="Century Gothic" panose="020B0502020202020204" pitchFamily="34" charset="0"/>
            </a:endParaRPr>
          </a:p>
        </p:txBody>
      </p:sp>
      <p:sp>
        <p:nvSpPr>
          <p:cNvPr id="33" name="Rectangle: Rounded Corners 32">
            <a:extLst>
              <a:ext uri="{FF2B5EF4-FFF2-40B4-BE49-F238E27FC236}">
                <a16:creationId xmlns:a16="http://schemas.microsoft.com/office/drawing/2014/main" id="{1361C8BF-C14B-D8B7-9541-E5FE2B306DF5}"/>
              </a:ext>
            </a:extLst>
          </p:cNvPr>
          <p:cNvSpPr/>
          <p:nvPr/>
        </p:nvSpPr>
        <p:spPr>
          <a:xfrm>
            <a:off x="4060342" y="4880924"/>
            <a:ext cx="7289800" cy="1239835"/>
          </a:xfrm>
          <a:prstGeom prst="roundRect">
            <a:avLst/>
          </a:prstGeom>
          <a:noFill/>
          <a:ln>
            <a:solidFill>
              <a:srgbClr val="E948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4" name="TextBox 33">
            <a:extLst>
              <a:ext uri="{FF2B5EF4-FFF2-40B4-BE49-F238E27FC236}">
                <a16:creationId xmlns:a16="http://schemas.microsoft.com/office/drawing/2014/main" id="{85AD77C6-E243-E2CB-C5FA-984208C4DB32}"/>
              </a:ext>
            </a:extLst>
          </p:cNvPr>
          <p:cNvSpPr txBox="1"/>
          <p:nvPr/>
        </p:nvSpPr>
        <p:spPr>
          <a:xfrm>
            <a:off x="4071213" y="5179208"/>
            <a:ext cx="7289800" cy="738664"/>
          </a:xfrm>
          <a:prstGeom prst="rect">
            <a:avLst/>
          </a:prstGeom>
          <a:noFill/>
        </p:spPr>
        <p:txBody>
          <a:bodyPr wrap="square" rtlCol="0">
            <a:spAutoFit/>
          </a:bodyPr>
          <a:lstStyle/>
          <a:p>
            <a:pPr algn="just"/>
            <a:r>
              <a:rPr lang="es-MX" sz="1400" dirty="0">
                <a:solidFill>
                  <a:schemeClr val="tx2"/>
                </a:solidFill>
                <a:latin typeface="Century Gothic" panose="020B0502020202020204" pitchFamily="34" charset="0"/>
              </a:rPr>
              <a:t>El  riesgo de liquidez (de Mercado) surge dada la dificultad de vender activos a los precios actuales del mercado derivando pérdidas. Esto se considera en el Ajuste de Valoración de Liquidez (LVA).</a:t>
            </a:r>
            <a:endParaRPr lang="es-MX" sz="1400" dirty="0"/>
          </a:p>
        </p:txBody>
      </p:sp>
      <p:sp>
        <p:nvSpPr>
          <p:cNvPr id="35" name="TextBox 34">
            <a:extLst>
              <a:ext uri="{FF2B5EF4-FFF2-40B4-BE49-F238E27FC236}">
                <a16:creationId xmlns:a16="http://schemas.microsoft.com/office/drawing/2014/main" id="{5E920DB6-58B3-D111-B045-5169020922A7}"/>
              </a:ext>
            </a:extLst>
          </p:cNvPr>
          <p:cNvSpPr txBox="1"/>
          <p:nvPr/>
        </p:nvSpPr>
        <p:spPr>
          <a:xfrm>
            <a:off x="3802888" y="4657223"/>
            <a:ext cx="2747130" cy="400110"/>
          </a:xfrm>
          <a:prstGeom prst="rect">
            <a:avLst/>
          </a:prstGeom>
          <a:solidFill>
            <a:srgbClr val="F9F8FA"/>
          </a:solidFill>
        </p:spPr>
        <p:txBody>
          <a:bodyPr wrap="square">
            <a:spAutoFit/>
          </a:bodyPr>
          <a:lstStyle/>
          <a:p>
            <a:r>
              <a:rPr lang="en-US" sz="2000" b="1" dirty="0">
                <a:solidFill>
                  <a:srgbClr val="5F2364"/>
                </a:solidFill>
                <a:latin typeface="Century Gothic" panose="020B0502020202020204" pitchFamily="34" charset="0"/>
              </a:rPr>
              <a:t>Riesgo de </a:t>
            </a:r>
            <a:r>
              <a:rPr lang="es-MX" sz="2000" b="1" noProof="0" dirty="0">
                <a:solidFill>
                  <a:srgbClr val="5F2364"/>
                </a:solidFill>
                <a:latin typeface="Century Gothic" panose="020B0502020202020204" pitchFamily="34" charset="0"/>
              </a:rPr>
              <a:t>Liquidez</a:t>
            </a:r>
            <a:endParaRPr lang="en-GB" sz="2000" b="1" dirty="0">
              <a:solidFill>
                <a:srgbClr val="5F2364"/>
              </a:solidFill>
              <a:latin typeface="Century Gothic" panose="020B0502020202020204" pitchFamily="34" charset="0"/>
            </a:endParaRPr>
          </a:p>
        </p:txBody>
      </p:sp>
    </p:spTree>
    <p:extLst>
      <p:ext uri="{BB962C8B-B14F-4D97-AF65-F5344CB8AC3E}">
        <p14:creationId xmlns:p14="http://schemas.microsoft.com/office/powerpoint/2010/main" val="3520466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65EDF-43E3-2D1F-2B2B-D48F3D60C4D6}"/>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F27E0CC8-5769-C2F6-E144-9D28D5739E8D}"/>
              </a:ext>
            </a:extLst>
          </p:cNvPr>
          <p:cNvSpPr txBox="1"/>
          <p:nvPr/>
        </p:nvSpPr>
        <p:spPr>
          <a:xfrm>
            <a:off x="1067602" y="260997"/>
            <a:ext cx="6589523"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Derivados sobre </a:t>
            </a:r>
            <a:r>
              <a:rPr lang="es-ES" sz="2800" b="1" kern="100" dirty="0" err="1">
                <a:solidFill>
                  <a:srgbClr val="5F2364"/>
                </a:solidFill>
                <a:latin typeface="Century Gothic" panose="020B0502020202020204" pitchFamily="34" charset="0"/>
                <a:ea typeface="Tahoma" panose="020B0604030504040204" pitchFamily="34" charset="0"/>
                <a:cs typeface="Tahoma" panose="020B0604030504040204" pitchFamily="34" charset="0"/>
              </a:rPr>
              <a:t>Criptoactivos</a:t>
            </a: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 </a:t>
            </a:r>
          </a:p>
        </p:txBody>
      </p:sp>
      <p:grpSp>
        <p:nvGrpSpPr>
          <p:cNvPr id="4" name="Grupo 3">
            <a:extLst>
              <a:ext uri="{FF2B5EF4-FFF2-40B4-BE49-F238E27FC236}">
                <a16:creationId xmlns:a16="http://schemas.microsoft.com/office/drawing/2014/main" id="{2C6A1E8D-3F04-D10E-0D5F-35D830684705}"/>
              </a:ext>
            </a:extLst>
          </p:cNvPr>
          <p:cNvGrpSpPr/>
          <p:nvPr/>
        </p:nvGrpSpPr>
        <p:grpSpPr>
          <a:xfrm>
            <a:off x="254282" y="270730"/>
            <a:ext cx="748010" cy="812393"/>
            <a:chOff x="533341" y="510112"/>
            <a:chExt cx="997346" cy="1083190"/>
          </a:xfrm>
        </p:grpSpPr>
        <p:sp>
          <p:nvSpPr>
            <p:cNvPr id="6" name="object 9">
              <a:extLst>
                <a:ext uri="{FF2B5EF4-FFF2-40B4-BE49-F238E27FC236}">
                  <a16:creationId xmlns:a16="http://schemas.microsoft.com/office/drawing/2014/main" id="{5D2CF913-8F81-27EF-A484-AA55463E89C9}"/>
                </a:ext>
              </a:extLst>
            </p:cNvPr>
            <p:cNvSpPr/>
            <p:nvPr/>
          </p:nvSpPr>
          <p:spPr>
            <a:xfrm>
              <a:off x="53334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3" name="object 10">
              <a:extLst>
                <a:ext uri="{FF2B5EF4-FFF2-40B4-BE49-F238E27FC236}">
                  <a16:creationId xmlns:a16="http://schemas.microsoft.com/office/drawing/2014/main" id="{354E2CDE-A4C8-09E0-08E9-148D3C16390D}"/>
                </a:ext>
              </a:extLst>
            </p:cNvPr>
            <p:cNvSpPr/>
            <p:nvPr/>
          </p:nvSpPr>
          <p:spPr>
            <a:xfrm>
              <a:off x="69331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7" name="object 11">
              <a:extLst>
                <a:ext uri="{FF2B5EF4-FFF2-40B4-BE49-F238E27FC236}">
                  <a16:creationId xmlns:a16="http://schemas.microsoft.com/office/drawing/2014/main" id="{BF150DA4-34D4-1506-299D-7DEA9FD83455}"/>
                </a:ext>
              </a:extLst>
            </p:cNvPr>
            <p:cNvSpPr/>
            <p:nvPr/>
          </p:nvSpPr>
          <p:spPr>
            <a:xfrm>
              <a:off x="853292"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20" name="object 12">
              <a:extLst>
                <a:ext uri="{FF2B5EF4-FFF2-40B4-BE49-F238E27FC236}">
                  <a16:creationId xmlns:a16="http://schemas.microsoft.com/office/drawing/2014/main" id="{F418A15D-E8AE-D9C4-E62C-EA5B82578F22}"/>
                </a:ext>
              </a:extLst>
            </p:cNvPr>
            <p:cNvSpPr/>
            <p:nvPr/>
          </p:nvSpPr>
          <p:spPr>
            <a:xfrm>
              <a:off x="101328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1" name="object 13">
              <a:extLst>
                <a:ext uri="{FF2B5EF4-FFF2-40B4-BE49-F238E27FC236}">
                  <a16:creationId xmlns:a16="http://schemas.microsoft.com/office/drawing/2014/main" id="{6977915B-F9E8-DAFB-657A-61EFB2818290}"/>
                </a:ext>
              </a:extLst>
            </p:cNvPr>
            <p:cNvSpPr/>
            <p:nvPr/>
          </p:nvSpPr>
          <p:spPr>
            <a:xfrm>
              <a:off x="533341"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3" name="object 14">
              <a:extLst>
                <a:ext uri="{FF2B5EF4-FFF2-40B4-BE49-F238E27FC236}">
                  <a16:creationId xmlns:a16="http://schemas.microsoft.com/office/drawing/2014/main" id="{B7CC0522-09A6-7CF7-4730-DFE6D6AE37A6}"/>
                </a:ext>
              </a:extLst>
            </p:cNvPr>
            <p:cNvSpPr/>
            <p:nvPr/>
          </p:nvSpPr>
          <p:spPr>
            <a:xfrm>
              <a:off x="69331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4" name="object 15">
              <a:extLst>
                <a:ext uri="{FF2B5EF4-FFF2-40B4-BE49-F238E27FC236}">
                  <a16:creationId xmlns:a16="http://schemas.microsoft.com/office/drawing/2014/main" id="{CE5BCE41-209E-9CD6-ABDF-B186B582A906}"/>
                </a:ext>
              </a:extLst>
            </p:cNvPr>
            <p:cNvSpPr/>
            <p:nvPr/>
          </p:nvSpPr>
          <p:spPr>
            <a:xfrm>
              <a:off x="853290"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5" name="object 16">
              <a:extLst>
                <a:ext uri="{FF2B5EF4-FFF2-40B4-BE49-F238E27FC236}">
                  <a16:creationId xmlns:a16="http://schemas.microsoft.com/office/drawing/2014/main" id="{3E1D4441-1707-81BD-D919-83F6B919F023}"/>
                </a:ext>
              </a:extLst>
            </p:cNvPr>
            <p:cNvSpPr/>
            <p:nvPr/>
          </p:nvSpPr>
          <p:spPr>
            <a:xfrm>
              <a:off x="1013280"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6" name="object 17">
              <a:extLst>
                <a:ext uri="{FF2B5EF4-FFF2-40B4-BE49-F238E27FC236}">
                  <a16:creationId xmlns:a16="http://schemas.microsoft.com/office/drawing/2014/main" id="{DBE20D1A-9E41-93C6-BDCB-BE0C60D947F2}"/>
                </a:ext>
              </a:extLst>
            </p:cNvPr>
            <p:cNvSpPr/>
            <p:nvPr/>
          </p:nvSpPr>
          <p:spPr>
            <a:xfrm>
              <a:off x="53334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7" name="object 18">
              <a:extLst>
                <a:ext uri="{FF2B5EF4-FFF2-40B4-BE49-F238E27FC236}">
                  <a16:creationId xmlns:a16="http://schemas.microsoft.com/office/drawing/2014/main" id="{AE57D67E-B5C5-F10C-3EC6-A8A817A2B1D4}"/>
                </a:ext>
              </a:extLst>
            </p:cNvPr>
            <p:cNvSpPr/>
            <p:nvPr/>
          </p:nvSpPr>
          <p:spPr>
            <a:xfrm>
              <a:off x="69331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8" name="object 19">
              <a:extLst>
                <a:ext uri="{FF2B5EF4-FFF2-40B4-BE49-F238E27FC236}">
                  <a16:creationId xmlns:a16="http://schemas.microsoft.com/office/drawing/2014/main" id="{E41257F2-59DC-B8CE-B56C-CBE5C4E45871}"/>
                </a:ext>
              </a:extLst>
            </p:cNvPr>
            <p:cNvSpPr/>
            <p:nvPr/>
          </p:nvSpPr>
          <p:spPr>
            <a:xfrm>
              <a:off x="853292"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9" name="object 20">
              <a:extLst>
                <a:ext uri="{FF2B5EF4-FFF2-40B4-BE49-F238E27FC236}">
                  <a16:creationId xmlns:a16="http://schemas.microsoft.com/office/drawing/2014/main" id="{1973A70B-8749-3BF6-0B79-5F59E19A6274}"/>
                </a:ext>
              </a:extLst>
            </p:cNvPr>
            <p:cNvSpPr/>
            <p:nvPr/>
          </p:nvSpPr>
          <p:spPr>
            <a:xfrm>
              <a:off x="101328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0" name="object 21">
              <a:extLst>
                <a:ext uri="{FF2B5EF4-FFF2-40B4-BE49-F238E27FC236}">
                  <a16:creationId xmlns:a16="http://schemas.microsoft.com/office/drawing/2014/main" id="{85EB167D-8987-D630-534B-F5989423536A}"/>
                </a:ext>
              </a:extLst>
            </p:cNvPr>
            <p:cNvSpPr/>
            <p:nvPr/>
          </p:nvSpPr>
          <p:spPr>
            <a:xfrm>
              <a:off x="53334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1" name="object 22">
              <a:extLst>
                <a:ext uri="{FF2B5EF4-FFF2-40B4-BE49-F238E27FC236}">
                  <a16:creationId xmlns:a16="http://schemas.microsoft.com/office/drawing/2014/main" id="{0707F259-D32E-8EC5-69B4-4EF787D80BA1}"/>
                </a:ext>
              </a:extLst>
            </p:cNvPr>
            <p:cNvSpPr/>
            <p:nvPr/>
          </p:nvSpPr>
          <p:spPr>
            <a:xfrm>
              <a:off x="69331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2" name="object 23">
              <a:extLst>
                <a:ext uri="{FF2B5EF4-FFF2-40B4-BE49-F238E27FC236}">
                  <a16:creationId xmlns:a16="http://schemas.microsoft.com/office/drawing/2014/main" id="{E56B51BC-E2F1-CCC8-218D-F3010E1A73C2}"/>
                </a:ext>
              </a:extLst>
            </p:cNvPr>
            <p:cNvSpPr/>
            <p:nvPr/>
          </p:nvSpPr>
          <p:spPr>
            <a:xfrm>
              <a:off x="853292"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3" name="object 24">
              <a:extLst>
                <a:ext uri="{FF2B5EF4-FFF2-40B4-BE49-F238E27FC236}">
                  <a16:creationId xmlns:a16="http://schemas.microsoft.com/office/drawing/2014/main" id="{6E3E475F-D2E1-3149-FCA6-377C16231419}"/>
                </a:ext>
              </a:extLst>
            </p:cNvPr>
            <p:cNvSpPr/>
            <p:nvPr/>
          </p:nvSpPr>
          <p:spPr>
            <a:xfrm>
              <a:off x="101328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4" name="object 25">
              <a:extLst>
                <a:ext uri="{FF2B5EF4-FFF2-40B4-BE49-F238E27FC236}">
                  <a16:creationId xmlns:a16="http://schemas.microsoft.com/office/drawing/2014/main" id="{DF32512D-18F2-B716-A3CC-8A8AD00B51DB}"/>
                </a:ext>
              </a:extLst>
            </p:cNvPr>
            <p:cNvSpPr/>
            <p:nvPr/>
          </p:nvSpPr>
          <p:spPr>
            <a:xfrm>
              <a:off x="533341"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5" name="object 26">
              <a:extLst>
                <a:ext uri="{FF2B5EF4-FFF2-40B4-BE49-F238E27FC236}">
                  <a16:creationId xmlns:a16="http://schemas.microsoft.com/office/drawing/2014/main" id="{CBC28966-EA6A-DD10-FEE7-C1C31E9727F2}"/>
                </a:ext>
              </a:extLst>
            </p:cNvPr>
            <p:cNvSpPr/>
            <p:nvPr/>
          </p:nvSpPr>
          <p:spPr>
            <a:xfrm>
              <a:off x="69331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6" name="object 27">
              <a:extLst>
                <a:ext uri="{FF2B5EF4-FFF2-40B4-BE49-F238E27FC236}">
                  <a16:creationId xmlns:a16="http://schemas.microsoft.com/office/drawing/2014/main" id="{0DA3E8D9-7241-7699-0D82-D034A172F10F}"/>
                </a:ext>
              </a:extLst>
            </p:cNvPr>
            <p:cNvSpPr/>
            <p:nvPr/>
          </p:nvSpPr>
          <p:spPr>
            <a:xfrm>
              <a:off x="853290"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object 28">
              <a:extLst>
                <a:ext uri="{FF2B5EF4-FFF2-40B4-BE49-F238E27FC236}">
                  <a16:creationId xmlns:a16="http://schemas.microsoft.com/office/drawing/2014/main" id="{9BCC49CC-D421-A205-ED4B-5A3679E341CF}"/>
                </a:ext>
              </a:extLst>
            </p:cNvPr>
            <p:cNvSpPr/>
            <p:nvPr/>
          </p:nvSpPr>
          <p:spPr>
            <a:xfrm>
              <a:off x="1013280"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8" name="object 29">
              <a:extLst>
                <a:ext uri="{FF2B5EF4-FFF2-40B4-BE49-F238E27FC236}">
                  <a16:creationId xmlns:a16="http://schemas.microsoft.com/office/drawing/2014/main" id="{34D62889-DC35-85FC-2932-3F97607F06A2}"/>
                </a:ext>
              </a:extLst>
            </p:cNvPr>
            <p:cNvSpPr/>
            <p:nvPr/>
          </p:nvSpPr>
          <p:spPr>
            <a:xfrm>
              <a:off x="53334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9" name="object 30">
              <a:extLst>
                <a:ext uri="{FF2B5EF4-FFF2-40B4-BE49-F238E27FC236}">
                  <a16:creationId xmlns:a16="http://schemas.microsoft.com/office/drawing/2014/main" id="{831FFBC5-F8A0-DD26-B225-2233CA70D1B3}"/>
                </a:ext>
              </a:extLst>
            </p:cNvPr>
            <p:cNvSpPr/>
            <p:nvPr/>
          </p:nvSpPr>
          <p:spPr>
            <a:xfrm>
              <a:off x="69331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0" name="object 31">
              <a:extLst>
                <a:ext uri="{FF2B5EF4-FFF2-40B4-BE49-F238E27FC236}">
                  <a16:creationId xmlns:a16="http://schemas.microsoft.com/office/drawing/2014/main" id="{EDC172F4-4C23-7348-9684-1388C650F508}"/>
                </a:ext>
              </a:extLst>
            </p:cNvPr>
            <p:cNvSpPr/>
            <p:nvPr/>
          </p:nvSpPr>
          <p:spPr>
            <a:xfrm>
              <a:off x="853292"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1" name="object 32">
              <a:extLst>
                <a:ext uri="{FF2B5EF4-FFF2-40B4-BE49-F238E27FC236}">
                  <a16:creationId xmlns:a16="http://schemas.microsoft.com/office/drawing/2014/main" id="{436BA331-E2C2-7317-17CF-92C8A3D489FB}"/>
                </a:ext>
              </a:extLst>
            </p:cNvPr>
            <p:cNvSpPr/>
            <p:nvPr/>
          </p:nvSpPr>
          <p:spPr>
            <a:xfrm>
              <a:off x="101328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2" name="object 33">
              <a:extLst>
                <a:ext uri="{FF2B5EF4-FFF2-40B4-BE49-F238E27FC236}">
                  <a16:creationId xmlns:a16="http://schemas.microsoft.com/office/drawing/2014/main" id="{CEDAECB9-39F4-5400-3F08-61C82D9AE0AE}"/>
                </a:ext>
              </a:extLst>
            </p:cNvPr>
            <p:cNvSpPr/>
            <p:nvPr/>
          </p:nvSpPr>
          <p:spPr>
            <a:xfrm>
              <a:off x="53334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3" name="object 34">
              <a:extLst>
                <a:ext uri="{FF2B5EF4-FFF2-40B4-BE49-F238E27FC236}">
                  <a16:creationId xmlns:a16="http://schemas.microsoft.com/office/drawing/2014/main" id="{3490C1D6-5340-AF1E-EA6B-9287105C6841}"/>
                </a:ext>
              </a:extLst>
            </p:cNvPr>
            <p:cNvSpPr/>
            <p:nvPr/>
          </p:nvSpPr>
          <p:spPr>
            <a:xfrm>
              <a:off x="69331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4" name="object 35">
              <a:extLst>
                <a:ext uri="{FF2B5EF4-FFF2-40B4-BE49-F238E27FC236}">
                  <a16:creationId xmlns:a16="http://schemas.microsoft.com/office/drawing/2014/main" id="{8948FB18-EFF9-853F-898D-A6922C9B2126}"/>
                </a:ext>
              </a:extLst>
            </p:cNvPr>
            <p:cNvSpPr/>
            <p:nvPr/>
          </p:nvSpPr>
          <p:spPr>
            <a:xfrm>
              <a:off x="853292"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5" name="object 36">
              <a:extLst>
                <a:ext uri="{FF2B5EF4-FFF2-40B4-BE49-F238E27FC236}">
                  <a16:creationId xmlns:a16="http://schemas.microsoft.com/office/drawing/2014/main" id="{F5E277A0-F365-4F63-F727-E50F4D27B229}"/>
                </a:ext>
              </a:extLst>
            </p:cNvPr>
            <p:cNvSpPr/>
            <p:nvPr/>
          </p:nvSpPr>
          <p:spPr>
            <a:xfrm>
              <a:off x="101328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6" name="object 37">
              <a:extLst>
                <a:ext uri="{FF2B5EF4-FFF2-40B4-BE49-F238E27FC236}">
                  <a16:creationId xmlns:a16="http://schemas.microsoft.com/office/drawing/2014/main" id="{E18ECF80-FB12-1461-EA0B-DA5052DD7FCE}"/>
                </a:ext>
              </a:extLst>
            </p:cNvPr>
            <p:cNvSpPr/>
            <p:nvPr/>
          </p:nvSpPr>
          <p:spPr>
            <a:xfrm>
              <a:off x="533341"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7" name="object 38">
              <a:extLst>
                <a:ext uri="{FF2B5EF4-FFF2-40B4-BE49-F238E27FC236}">
                  <a16:creationId xmlns:a16="http://schemas.microsoft.com/office/drawing/2014/main" id="{85D8F97C-EB0D-F76E-B491-08D00E9E8479}"/>
                </a:ext>
              </a:extLst>
            </p:cNvPr>
            <p:cNvSpPr/>
            <p:nvPr/>
          </p:nvSpPr>
          <p:spPr>
            <a:xfrm>
              <a:off x="69331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object 39">
              <a:extLst>
                <a:ext uri="{FF2B5EF4-FFF2-40B4-BE49-F238E27FC236}">
                  <a16:creationId xmlns:a16="http://schemas.microsoft.com/office/drawing/2014/main" id="{4C588154-94A0-CA81-C65A-14C54AFCED46}"/>
                </a:ext>
              </a:extLst>
            </p:cNvPr>
            <p:cNvSpPr/>
            <p:nvPr/>
          </p:nvSpPr>
          <p:spPr>
            <a:xfrm>
              <a:off x="853290"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9" name="object 40">
              <a:extLst>
                <a:ext uri="{FF2B5EF4-FFF2-40B4-BE49-F238E27FC236}">
                  <a16:creationId xmlns:a16="http://schemas.microsoft.com/office/drawing/2014/main" id="{EEB5AB3F-7313-8681-5BB0-66761EEE40FB}"/>
                </a:ext>
              </a:extLst>
            </p:cNvPr>
            <p:cNvSpPr/>
            <p:nvPr/>
          </p:nvSpPr>
          <p:spPr>
            <a:xfrm>
              <a:off x="1013280"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0" name="object 41">
              <a:extLst>
                <a:ext uri="{FF2B5EF4-FFF2-40B4-BE49-F238E27FC236}">
                  <a16:creationId xmlns:a16="http://schemas.microsoft.com/office/drawing/2014/main" id="{56DE0B8F-7A29-DB6B-FCD3-8E33CD1BBE94}"/>
                </a:ext>
              </a:extLst>
            </p:cNvPr>
            <p:cNvSpPr/>
            <p:nvPr/>
          </p:nvSpPr>
          <p:spPr>
            <a:xfrm>
              <a:off x="101328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1" name="object 42">
              <a:extLst>
                <a:ext uri="{FF2B5EF4-FFF2-40B4-BE49-F238E27FC236}">
                  <a16:creationId xmlns:a16="http://schemas.microsoft.com/office/drawing/2014/main" id="{7DE21C09-6753-5737-A113-36D9038BC84E}"/>
                </a:ext>
              </a:extLst>
            </p:cNvPr>
            <p:cNvSpPr/>
            <p:nvPr/>
          </p:nvSpPr>
          <p:spPr>
            <a:xfrm>
              <a:off x="117325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2" name="object 43">
              <a:extLst>
                <a:ext uri="{FF2B5EF4-FFF2-40B4-BE49-F238E27FC236}">
                  <a16:creationId xmlns:a16="http://schemas.microsoft.com/office/drawing/2014/main" id="{53D674BA-3062-3615-27FB-8872AF9ACAEE}"/>
                </a:ext>
              </a:extLst>
            </p:cNvPr>
            <p:cNvSpPr/>
            <p:nvPr/>
          </p:nvSpPr>
          <p:spPr>
            <a:xfrm>
              <a:off x="1333233"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3" name="object 44">
              <a:extLst>
                <a:ext uri="{FF2B5EF4-FFF2-40B4-BE49-F238E27FC236}">
                  <a16:creationId xmlns:a16="http://schemas.microsoft.com/office/drawing/2014/main" id="{00653479-8707-F8EA-2AE4-B2E36ACB816D}"/>
                </a:ext>
              </a:extLst>
            </p:cNvPr>
            <p:cNvSpPr/>
            <p:nvPr/>
          </p:nvSpPr>
          <p:spPr>
            <a:xfrm>
              <a:off x="149322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4" name="object 45">
              <a:extLst>
                <a:ext uri="{FF2B5EF4-FFF2-40B4-BE49-F238E27FC236}">
                  <a16:creationId xmlns:a16="http://schemas.microsoft.com/office/drawing/2014/main" id="{B195DE7A-2BFC-8192-FD34-713E18544C61}"/>
                </a:ext>
              </a:extLst>
            </p:cNvPr>
            <p:cNvSpPr/>
            <p:nvPr/>
          </p:nvSpPr>
          <p:spPr>
            <a:xfrm>
              <a:off x="1013280"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5" name="object 46">
              <a:extLst>
                <a:ext uri="{FF2B5EF4-FFF2-40B4-BE49-F238E27FC236}">
                  <a16:creationId xmlns:a16="http://schemas.microsoft.com/office/drawing/2014/main" id="{3C222D2D-489E-1EF5-2827-F5D28D2A0C9E}"/>
                </a:ext>
              </a:extLst>
            </p:cNvPr>
            <p:cNvSpPr/>
            <p:nvPr/>
          </p:nvSpPr>
          <p:spPr>
            <a:xfrm>
              <a:off x="117325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6" name="object 47">
              <a:extLst>
                <a:ext uri="{FF2B5EF4-FFF2-40B4-BE49-F238E27FC236}">
                  <a16:creationId xmlns:a16="http://schemas.microsoft.com/office/drawing/2014/main" id="{AA8FBD82-E0A4-D758-976E-8CFD0874FC71}"/>
                </a:ext>
              </a:extLst>
            </p:cNvPr>
            <p:cNvSpPr/>
            <p:nvPr/>
          </p:nvSpPr>
          <p:spPr>
            <a:xfrm>
              <a:off x="1333231"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7" name="object 48">
              <a:extLst>
                <a:ext uri="{FF2B5EF4-FFF2-40B4-BE49-F238E27FC236}">
                  <a16:creationId xmlns:a16="http://schemas.microsoft.com/office/drawing/2014/main" id="{F9D4A153-0709-EEA9-066E-9389B9C2F5CC}"/>
                </a:ext>
              </a:extLst>
            </p:cNvPr>
            <p:cNvSpPr/>
            <p:nvPr/>
          </p:nvSpPr>
          <p:spPr>
            <a:xfrm>
              <a:off x="1493221"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8" name="object 49">
              <a:extLst>
                <a:ext uri="{FF2B5EF4-FFF2-40B4-BE49-F238E27FC236}">
                  <a16:creationId xmlns:a16="http://schemas.microsoft.com/office/drawing/2014/main" id="{0ABB9725-934D-D436-F57A-C4E7C2FD3CA5}"/>
                </a:ext>
              </a:extLst>
            </p:cNvPr>
            <p:cNvSpPr/>
            <p:nvPr/>
          </p:nvSpPr>
          <p:spPr>
            <a:xfrm>
              <a:off x="101328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9" name="object 50">
              <a:extLst>
                <a:ext uri="{FF2B5EF4-FFF2-40B4-BE49-F238E27FC236}">
                  <a16:creationId xmlns:a16="http://schemas.microsoft.com/office/drawing/2014/main" id="{66F2052B-5C82-CAB9-FD70-88A26E4A979F}"/>
                </a:ext>
              </a:extLst>
            </p:cNvPr>
            <p:cNvSpPr/>
            <p:nvPr/>
          </p:nvSpPr>
          <p:spPr>
            <a:xfrm>
              <a:off x="117325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0" name="object 51">
              <a:extLst>
                <a:ext uri="{FF2B5EF4-FFF2-40B4-BE49-F238E27FC236}">
                  <a16:creationId xmlns:a16="http://schemas.microsoft.com/office/drawing/2014/main" id="{4EA74F58-FAE9-567B-E8AD-73AD01B356C6}"/>
                </a:ext>
              </a:extLst>
            </p:cNvPr>
            <p:cNvSpPr/>
            <p:nvPr/>
          </p:nvSpPr>
          <p:spPr>
            <a:xfrm>
              <a:off x="1333233"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1" name="object 52">
              <a:extLst>
                <a:ext uri="{FF2B5EF4-FFF2-40B4-BE49-F238E27FC236}">
                  <a16:creationId xmlns:a16="http://schemas.microsoft.com/office/drawing/2014/main" id="{26FFFB6D-02E5-DAFF-6EB9-B70D9E531188}"/>
                </a:ext>
              </a:extLst>
            </p:cNvPr>
            <p:cNvSpPr/>
            <p:nvPr/>
          </p:nvSpPr>
          <p:spPr>
            <a:xfrm>
              <a:off x="149322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2" name="object 53">
              <a:extLst>
                <a:ext uri="{FF2B5EF4-FFF2-40B4-BE49-F238E27FC236}">
                  <a16:creationId xmlns:a16="http://schemas.microsoft.com/office/drawing/2014/main" id="{CD5263E8-9B43-DE7E-8C8E-385E44E9C7E8}"/>
                </a:ext>
              </a:extLst>
            </p:cNvPr>
            <p:cNvSpPr/>
            <p:nvPr/>
          </p:nvSpPr>
          <p:spPr>
            <a:xfrm>
              <a:off x="101328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3" name="object 54">
              <a:extLst>
                <a:ext uri="{FF2B5EF4-FFF2-40B4-BE49-F238E27FC236}">
                  <a16:creationId xmlns:a16="http://schemas.microsoft.com/office/drawing/2014/main" id="{54C97B10-48F0-9C04-10D4-3D0B39A48BDF}"/>
                </a:ext>
              </a:extLst>
            </p:cNvPr>
            <p:cNvSpPr/>
            <p:nvPr/>
          </p:nvSpPr>
          <p:spPr>
            <a:xfrm>
              <a:off x="117325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4" name="object 55">
              <a:extLst>
                <a:ext uri="{FF2B5EF4-FFF2-40B4-BE49-F238E27FC236}">
                  <a16:creationId xmlns:a16="http://schemas.microsoft.com/office/drawing/2014/main" id="{E85E0D15-8D6D-E527-8866-9CE640BB6E19}"/>
                </a:ext>
              </a:extLst>
            </p:cNvPr>
            <p:cNvSpPr/>
            <p:nvPr/>
          </p:nvSpPr>
          <p:spPr>
            <a:xfrm>
              <a:off x="1333233"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5" name="object 56">
              <a:extLst>
                <a:ext uri="{FF2B5EF4-FFF2-40B4-BE49-F238E27FC236}">
                  <a16:creationId xmlns:a16="http://schemas.microsoft.com/office/drawing/2014/main" id="{E859582E-D054-B9E4-F231-1CF86BAD6BE9}"/>
                </a:ext>
              </a:extLst>
            </p:cNvPr>
            <p:cNvSpPr/>
            <p:nvPr/>
          </p:nvSpPr>
          <p:spPr>
            <a:xfrm>
              <a:off x="149322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6" name="object 57">
              <a:extLst>
                <a:ext uri="{FF2B5EF4-FFF2-40B4-BE49-F238E27FC236}">
                  <a16:creationId xmlns:a16="http://schemas.microsoft.com/office/drawing/2014/main" id="{B69849FE-5786-3007-98E4-8D347A92000F}"/>
                </a:ext>
              </a:extLst>
            </p:cNvPr>
            <p:cNvSpPr/>
            <p:nvPr/>
          </p:nvSpPr>
          <p:spPr>
            <a:xfrm>
              <a:off x="1013280"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7" name="object 58">
              <a:extLst>
                <a:ext uri="{FF2B5EF4-FFF2-40B4-BE49-F238E27FC236}">
                  <a16:creationId xmlns:a16="http://schemas.microsoft.com/office/drawing/2014/main" id="{8EEF6977-4A65-7719-D36E-1EE7803A6130}"/>
                </a:ext>
              </a:extLst>
            </p:cNvPr>
            <p:cNvSpPr/>
            <p:nvPr/>
          </p:nvSpPr>
          <p:spPr>
            <a:xfrm>
              <a:off x="117325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8" name="object 59">
              <a:extLst>
                <a:ext uri="{FF2B5EF4-FFF2-40B4-BE49-F238E27FC236}">
                  <a16:creationId xmlns:a16="http://schemas.microsoft.com/office/drawing/2014/main" id="{33C85095-3272-2177-7B21-42E20C68B412}"/>
                </a:ext>
              </a:extLst>
            </p:cNvPr>
            <p:cNvSpPr/>
            <p:nvPr/>
          </p:nvSpPr>
          <p:spPr>
            <a:xfrm>
              <a:off x="1333231"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9" name="object 60">
              <a:extLst>
                <a:ext uri="{FF2B5EF4-FFF2-40B4-BE49-F238E27FC236}">
                  <a16:creationId xmlns:a16="http://schemas.microsoft.com/office/drawing/2014/main" id="{5F0F1122-57DC-6E55-335E-DF5CA8138C79}"/>
                </a:ext>
              </a:extLst>
            </p:cNvPr>
            <p:cNvSpPr/>
            <p:nvPr/>
          </p:nvSpPr>
          <p:spPr>
            <a:xfrm>
              <a:off x="1493221"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0" name="object 61">
              <a:extLst>
                <a:ext uri="{FF2B5EF4-FFF2-40B4-BE49-F238E27FC236}">
                  <a16:creationId xmlns:a16="http://schemas.microsoft.com/office/drawing/2014/main" id="{B34656D8-DFAE-E335-0823-C70574D80BEF}"/>
                </a:ext>
              </a:extLst>
            </p:cNvPr>
            <p:cNvSpPr/>
            <p:nvPr/>
          </p:nvSpPr>
          <p:spPr>
            <a:xfrm>
              <a:off x="101328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1" name="object 62">
              <a:extLst>
                <a:ext uri="{FF2B5EF4-FFF2-40B4-BE49-F238E27FC236}">
                  <a16:creationId xmlns:a16="http://schemas.microsoft.com/office/drawing/2014/main" id="{E075871B-8AED-7F6E-6D29-2AEF453EF524}"/>
                </a:ext>
              </a:extLst>
            </p:cNvPr>
            <p:cNvSpPr/>
            <p:nvPr/>
          </p:nvSpPr>
          <p:spPr>
            <a:xfrm>
              <a:off x="117325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2" name="object 63">
              <a:extLst>
                <a:ext uri="{FF2B5EF4-FFF2-40B4-BE49-F238E27FC236}">
                  <a16:creationId xmlns:a16="http://schemas.microsoft.com/office/drawing/2014/main" id="{80F1D113-7691-3A49-4340-E1659B59F78E}"/>
                </a:ext>
              </a:extLst>
            </p:cNvPr>
            <p:cNvSpPr/>
            <p:nvPr/>
          </p:nvSpPr>
          <p:spPr>
            <a:xfrm>
              <a:off x="1333233"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3" name="object 64">
              <a:extLst>
                <a:ext uri="{FF2B5EF4-FFF2-40B4-BE49-F238E27FC236}">
                  <a16:creationId xmlns:a16="http://schemas.microsoft.com/office/drawing/2014/main" id="{3A34BCAA-2045-4B8A-DD4A-752DB3665EBB}"/>
                </a:ext>
              </a:extLst>
            </p:cNvPr>
            <p:cNvSpPr/>
            <p:nvPr/>
          </p:nvSpPr>
          <p:spPr>
            <a:xfrm>
              <a:off x="149322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4" name="object 65">
              <a:extLst>
                <a:ext uri="{FF2B5EF4-FFF2-40B4-BE49-F238E27FC236}">
                  <a16:creationId xmlns:a16="http://schemas.microsoft.com/office/drawing/2014/main" id="{C3CCD5D2-CE91-BFAF-284E-997FBB52B93C}"/>
                </a:ext>
              </a:extLst>
            </p:cNvPr>
            <p:cNvSpPr/>
            <p:nvPr/>
          </p:nvSpPr>
          <p:spPr>
            <a:xfrm>
              <a:off x="101328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5" name="object 66">
              <a:extLst>
                <a:ext uri="{FF2B5EF4-FFF2-40B4-BE49-F238E27FC236}">
                  <a16:creationId xmlns:a16="http://schemas.microsoft.com/office/drawing/2014/main" id="{46C3CE38-1A52-EDC6-12CB-0BA1ED0A6600}"/>
                </a:ext>
              </a:extLst>
            </p:cNvPr>
            <p:cNvSpPr/>
            <p:nvPr/>
          </p:nvSpPr>
          <p:spPr>
            <a:xfrm>
              <a:off x="117325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6" name="object 67">
              <a:extLst>
                <a:ext uri="{FF2B5EF4-FFF2-40B4-BE49-F238E27FC236}">
                  <a16:creationId xmlns:a16="http://schemas.microsoft.com/office/drawing/2014/main" id="{C77C0720-83BA-8343-72E3-4C66199D74F7}"/>
                </a:ext>
              </a:extLst>
            </p:cNvPr>
            <p:cNvSpPr/>
            <p:nvPr/>
          </p:nvSpPr>
          <p:spPr>
            <a:xfrm>
              <a:off x="1333233"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7" name="object 68">
              <a:extLst>
                <a:ext uri="{FF2B5EF4-FFF2-40B4-BE49-F238E27FC236}">
                  <a16:creationId xmlns:a16="http://schemas.microsoft.com/office/drawing/2014/main" id="{7EC7DFE2-41A7-5FBA-7C2B-38FA0537B50C}"/>
                </a:ext>
              </a:extLst>
            </p:cNvPr>
            <p:cNvSpPr/>
            <p:nvPr/>
          </p:nvSpPr>
          <p:spPr>
            <a:xfrm>
              <a:off x="149322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8" name="object 69">
              <a:extLst>
                <a:ext uri="{FF2B5EF4-FFF2-40B4-BE49-F238E27FC236}">
                  <a16:creationId xmlns:a16="http://schemas.microsoft.com/office/drawing/2014/main" id="{156AC0B7-BE76-F599-7A83-4456406557F7}"/>
                </a:ext>
              </a:extLst>
            </p:cNvPr>
            <p:cNvSpPr/>
            <p:nvPr/>
          </p:nvSpPr>
          <p:spPr>
            <a:xfrm>
              <a:off x="1013280"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9" name="object 70">
              <a:extLst>
                <a:ext uri="{FF2B5EF4-FFF2-40B4-BE49-F238E27FC236}">
                  <a16:creationId xmlns:a16="http://schemas.microsoft.com/office/drawing/2014/main" id="{990FA4AB-79CB-485E-65E4-D86980FC1D7C}"/>
                </a:ext>
              </a:extLst>
            </p:cNvPr>
            <p:cNvSpPr/>
            <p:nvPr/>
          </p:nvSpPr>
          <p:spPr>
            <a:xfrm>
              <a:off x="117325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0" name="object 71">
              <a:extLst>
                <a:ext uri="{FF2B5EF4-FFF2-40B4-BE49-F238E27FC236}">
                  <a16:creationId xmlns:a16="http://schemas.microsoft.com/office/drawing/2014/main" id="{7AA34B00-06FE-E447-C890-626A469A9CAC}"/>
                </a:ext>
              </a:extLst>
            </p:cNvPr>
            <p:cNvSpPr/>
            <p:nvPr/>
          </p:nvSpPr>
          <p:spPr>
            <a:xfrm>
              <a:off x="1333231"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1" name="object 72">
              <a:extLst>
                <a:ext uri="{FF2B5EF4-FFF2-40B4-BE49-F238E27FC236}">
                  <a16:creationId xmlns:a16="http://schemas.microsoft.com/office/drawing/2014/main" id="{E15126C8-2DA2-A3CC-D7D5-D821F4D14DCA}"/>
                </a:ext>
              </a:extLst>
            </p:cNvPr>
            <p:cNvSpPr/>
            <p:nvPr/>
          </p:nvSpPr>
          <p:spPr>
            <a:xfrm>
              <a:off x="1493221"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grpSp>
      <p:sp>
        <p:nvSpPr>
          <p:cNvPr id="92" name="object 6">
            <a:extLst>
              <a:ext uri="{FF2B5EF4-FFF2-40B4-BE49-F238E27FC236}">
                <a16:creationId xmlns:a16="http://schemas.microsoft.com/office/drawing/2014/main" id="{FAAC6CDE-397A-D631-75BF-2F399D214100}"/>
              </a:ext>
            </a:extLst>
          </p:cNvPr>
          <p:cNvSpPr/>
          <p:nvPr/>
        </p:nvSpPr>
        <p:spPr>
          <a:xfrm>
            <a:off x="0" y="0"/>
            <a:ext cx="778669" cy="787718"/>
          </a:xfrm>
          <a:custGeom>
            <a:avLst/>
            <a:gdLst/>
            <a:ahLst/>
            <a:cxnLst/>
            <a:rect l="l" t="t" r="r" b="b"/>
            <a:pathLst>
              <a:path w="1038225" h="1050290">
                <a:moveTo>
                  <a:pt x="1036748" y="0"/>
                </a:moveTo>
                <a:lnTo>
                  <a:pt x="0" y="0"/>
                </a:lnTo>
                <a:lnTo>
                  <a:pt x="0" y="1049691"/>
                </a:lnTo>
                <a:lnTo>
                  <a:pt x="9282" y="1050066"/>
                </a:lnTo>
                <a:lnTo>
                  <a:pt x="93623" y="1046657"/>
                </a:lnTo>
                <a:lnTo>
                  <a:pt x="176086" y="1036606"/>
                </a:lnTo>
                <a:lnTo>
                  <a:pt x="256407" y="1020179"/>
                </a:lnTo>
                <a:lnTo>
                  <a:pt x="334320" y="997639"/>
                </a:lnTo>
                <a:lnTo>
                  <a:pt x="409562" y="969252"/>
                </a:lnTo>
                <a:lnTo>
                  <a:pt x="481868" y="935282"/>
                </a:lnTo>
                <a:lnTo>
                  <a:pt x="550972" y="895994"/>
                </a:lnTo>
                <a:lnTo>
                  <a:pt x="616611" y="851653"/>
                </a:lnTo>
                <a:lnTo>
                  <a:pt x="678520" y="802522"/>
                </a:lnTo>
                <a:lnTo>
                  <a:pt x="736433" y="748868"/>
                </a:lnTo>
                <a:lnTo>
                  <a:pt x="790087" y="690954"/>
                </a:lnTo>
                <a:lnTo>
                  <a:pt x="839217" y="629045"/>
                </a:lnTo>
                <a:lnTo>
                  <a:pt x="883558" y="563406"/>
                </a:lnTo>
                <a:lnTo>
                  <a:pt x="922845" y="494302"/>
                </a:lnTo>
                <a:lnTo>
                  <a:pt x="956815" y="421996"/>
                </a:lnTo>
                <a:lnTo>
                  <a:pt x="985201" y="346755"/>
                </a:lnTo>
                <a:lnTo>
                  <a:pt x="1007740" y="268842"/>
                </a:lnTo>
                <a:lnTo>
                  <a:pt x="1024167" y="188522"/>
                </a:lnTo>
                <a:lnTo>
                  <a:pt x="1034217" y="106061"/>
                </a:lnTo>
                <a:lnTo>
                  <a:pt x="1037626" y="21721"/>
                </a:lnTo>
                <a:lnTo>
                  <a:pt x="1036748" y="0"/>
                </a:lnTo>
              </a:path>
            </a:pathLst>
          </a:custGeom>
          <a:solidFill>
            <a:srgbClr val="5F2364"/>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97">
            <a:extLst>
              <a:ext uri="{FF2B5EF4-FFF2-40B4-BE49-F238E27FC236}">
                <a16:creationId xmlns:a16="http://schemas.microsoft.com/office/drawing/2014/main" id="{C19BB944-8397-5CFD-2145-5B955983324E}"/>
              </a:ext>
            </a:extLst>
          </p:cNvPr>
          <p:cNvSpPr/>
          <p:nvPr/>
        </p:nvSpPr>
        <p:spPr>
          <a:xfrm flipV="1">
            <a:off x="1165919" y="758659"/>
            <a:ext cx="4915624" cy="45719"/>
          </a:xfrm>
          <a:custGeom>
            <a:avLst/>
            <a:gdLst/>
            <a:ahLst/>
            <a:cxnLst/>
            <a:rect l="l" t="t" r="r" b="b"/>
            <a:pathLst>
              <a:path w="3352800">
                <a:moveTo>
                  <a:pt x="0" y="0"/>
                </a:moveTo>
                <a:lnTo>
                  <a:pt x="3352800" y="0"/>
                </a:lnTo>
              </a:path>
            </a:pathLst>
          </a:custGeom>
          <a:ln w="50800">
            <a:solidFill>
              <a:schemeClr val="accent5">
                <a:lumMod val="50000"/>
              </a:schemeClr>
            </a:solidFill>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 name="object 2">
            <a:extLst>
              <a:ext uri="{FF2B5EF4-FFF2-40B4-BE49-F238E27FC236}">
                <a16:creationId xmlns:a16="http://schemas.microsoft.com/office/drawing/2014/main" id="{772B9DDF-A6A2-D1E6-51F0-D0223B70ABF9}"/>
              </a:ext>
            </a:extLst>
          </p:cNvPr>
          <p:cNvSpPr/>
          <p:nvPr/>
        </p:nvSpPr>
        <p:spPr>
          <a:xfrm>
            <a:off x="8961780" y="1"/>
            <a:ext cx="1484948" cy="966311"/>
          </a:xfrm>
          <a:custGeom>
            <a:avLst/>
            <a:gdLst/>
            <a:ahLst/>
            <a:cxnLst/>
            <a:rect l="l" t="t" r="r" b="b"/>
            <a:pathLst>
              <a:path w="1979930" h="1288415">
                <a:moveTo>
                  <a:pt x="596671" y="0"/>
                </a:moveTo>
                <a:lnTo>
                  <a:pt x="142598" y="454076"/>
                </a:lnTo>
                <a:lnTo>
                  <a:pt x="115505" y="483471"/>
                </a:lnTo>
                <a:lnTo>
                  <a:pt x="91263" y="514499"/>
                </a:lnTo>
                <a:lnTo>
                  <a:pt x="69873" y="546979"/>
                </a:lnTo>
                <a:lnTo>
                  <a:pt x="51335" y="580730"/>
                </a:lnTo>
                <a:lnTo>
                  <a:pt x="35649" y="615570"/>
                </a:lnTo>
                <a:lnTo>
                  <a:pt x="12833" y="687791"/>
                </a:lnTo>
                <a:lnTo>
                  <a:pt x="1425" y="762190"/>
                </a:lnTo>
                <a:lnTo>
                  <a:pt x="0" y="799752"/>
                </a:lnTo>
                <a:lnTo>
                  <a:pt x="1425" y="837315"/>
                </a:lnTo>
                <a:lnTo>
                  <a:pt x="12833" y="911714"/>
                </a:lnTo>
                <a:lnTo>
                  <a:pt x="35649" y="983936"/>
                </a:lnTo>
                <a:lnTo>
                  <a:pt x="51335" y="1018777"/>
                </a:lnTo>
                <a:lnTo>
                  <a:pt x="69873" y="1052529"/>
                </a:lnTo>
                <a:lnTo>
                  <a:pt x="91263" y="1085011"/>
                </a:lnTo>
                <a:lnTo>
                  <a:pt x="115505" y="1116041"/>
                </a:lnTo>
                <a:lnTo>
                  <a:pt x="142598" y="1145438"/>
                </a:lnTo>
                <a:lnTo>
                  <a:pt x="171995" y="1172532"/>
                </a:lnTo>
                <a:lnTo>
                  <a:pt x="203025" y="1196774"/>
                </a:lnTo>
                <a:lnTo>
                  <a:pt x="235507" y="1218163"/>
                </a:lnTo>
                <a:lnTo>
                  <a:pt x="269259" y="1236701"/>
                </a:lnTo>
                <a:lnTo>
                  <a:pt x="304100" y="1252387"/>
                </a:lnTo>
                <a:lnTo>
                  <a:pt x="376322" y="1275203"/>
                </a:lnTo>
                <a:lnTo>
                  <a:pt x="450722" y="1286611"/>
                </a:lnTo>
                <a:lnTo>
                  <a:pt x="488284" y="1288037"/>
                </a:lnTo>
                <a:lnTo>
                  <a:pt x="525847" y="1286611"/>
                </a:lnTo>
                <a:lnTo>
                  <a:pt x="600246" y="1275203"/>
                </a:lnTo>
                <a:lnTo>
                  <a:pt x="672466" y="1252387"/>
                </a:lnTo>
                <a:lnTo>
                  <a:pt x="707306" y="1236701"/>
                </a:lnTo>
                <a:lnTo>
                  <a:pt x="741057" y="1218163"/>
                </a:lnTo>
                <a:lnTo>
                  <a:pt x="773537" y="1196774"/>
                </a:lnTo>
                <a:lnTo>
                  <a:pt x="804566" y="1172532"/>
                </a:lnTo>
                <a:lnTo>
                  <a:pt x="833961" y="1145438"/>
                </a:lnTo>
                <a:lnTo>
                  <a:pt x="1979399" y="0"/>
                </a:lnTo>
                <a:lnTo>
                  <a:pt x="596671" y="0"/>
                </a:lnTo>
              </a:path>
            </a:pathLst>
          </a:custGeom>
          <a:solidFill>
            <a:srgbClr val="FFFFFF"/>
          </a:solidFill>
          <a:effectLst>
            <a:outerShdw blurRad="317500" dist="50800" dir="5400000" algn="ctr" rotWithShape="0">
              <a:schemeClr val="tx1">
                <a:alpha val="20000"/>
              </a:schemeClr>
            </a:outerShdw>
          </a:effectLst>
        </p:spPr>
        <p:txBody>
          <a:bodyPr wrap="square" lIns="0" tIns="0" rIns="0" bIns="0" rtlCol="0"/>
          <a:lstStyle/>
          <a:p>
            <a:endParaRPr sz="1350"/>
          </a:p>
        </p:txBody>
      </p:sp>
      <p:sp>
        <p:nvSpPr>
          <p:cNvPr id="116" name="TextBox 115">
            <a:extLst>
              <a:ext uri="{FF2B5EF4-FFF2-40B4-BE49-F238E27FC236}">
                <a16:creationId xmlns:a16="http://schemas.microsoft.com/office/drawing/2014/main" id="{FCD018E2-711F-5C59-0554-CB4660635C1F}"/>
              </a:ext>
            </a:extLst>
          </p:cNvPr>
          <p:cNvSpPr txBox="1"/>
          <p:nvPr/>
        </p:nvSpPr>
        <p:spPr>
          <a:xfrm>
            <a:off x="494244" y="1416970"/>
            <a:ext cx="10972800" cy="954107"/>
          </a:xfrm>
          <a:prstGeom prst="rect">
            <a:avLst/>
          </a:prstGeom>
          <a:noFill/>
        </p:spPr>
        <p:txBody>
          <a:bodyPr wrap="square">
            <a:spAutoFit/>
          </a:bodyPr>
          <a:lstStyle/>
          <a:p>
            <a:pPr algn="just"/>
            <a:r>
              <a:rPr lang="es-MX" sz="1400" i="1" kern="0" dirty="0">
                <a:solidFill>
                  <a:srgbClr val="6E4494"/>
                </a:solidFill>
                <a:latin typeface="Century Gothic" panose="020B0502020202020204" pitchFamily="34" charset="0"/>
              </a:rPr>
              <a:t>En contraste con los modelos de valuación y de riesgo de activos tradicionales, la modelización de riesgos específicos de los derivados de </a:t>
            </a:r>
            <a:r>
              <a:rPr lang="es-MX" sz="1400" i="1" kern="0" dirty="0" err="1">
                <a:solidFill>
                  <a:srgbClr val="6E4494"/>
                </a:solidFill>
                <a:latin typeface="Century Gothic" panose="020B0502020202020204" pitchFamily="34" charset="0"/>
              </a:rPr>
              <a:t>criptoactivos</a:t>
            </a:r>
            <a:r>
              <a:rPr lang="es-MX" sz="1400" i="1" kern="0" dirty="0">
                <a:solidFill>
                  <a:srgbClr val="6E4494"/>
                </a:solidFill>
                <a:latin typeface="Century Gothic" panose="020B0502020202020204" pitchFamily="34" charset="0"/>
              </a:rPr>
              <a:t> presenta desafíos únicos. Estos desafíos se derivan de las características de los activos subyacentes y de los mercados en los que se negocian. A continuación, se presentan seis aspectos clave a considerar al desarrollar  en el desarrollo para derivados de </a:t>
            </a:r>
            <a:r>
              <a:rPr lang="es-MX" sz="1400" i="1" kern="0" dirty="0" err="1">
                <a:solidFill>
                  <a:srgbClr val="6E4494"/>
                </a:solidFill>
                <a:latin typeface="Century Gothic" panose="020B0502020202020204" pitchFamily="34" charset="0"/>
              </a:rPr>
              <a:t>criptoactivos</a:t>
            </a:r>
            <a:r>
              <a:rPr lang="es-MX" sz="1400" i="1" kern="0" dirty="0">
                <a:solidFill>
                  <a:srgbClr val="6E4494"/>
                </a:solidFill>
                <a:latin typeface="Century Gothic" panose="020B0502020202020204" pitchFamily="34" charset="0"/>
              </a:rPr>
              <a:t>:</a:t>
            </a:r>
          </a:p>
        </p:txBody>
      </p:sp>
      <p:cxnSp>
        <p:nvCxnSpPr>
          <p:cNvPr id="19" name="Straight Connector 18">
            <a:extLst>
              <a:ext uri="{FF2B5EF4-FFF2-40B4-BE49-F238E27FC236}">
                <a16:creationId xmlns:a16="http://schemas.microsoft.com/office/drawing/2014/main" id="{8E579FEA-DAB3-DEF7-B940-973168E6B431}"/>
              </a:ext>
            </a:extLst>
          </p:cNvPr>
          <p:cNvCxnSpPr>
            <a:cxnSpLocks/>
          </p:cNvCxnSpPr>
          <p:nvPr/>
        </p:nvCxnSpPr>
        <p:spPr>
          <a:xfrm flipH="1" flipV="1">
            <a:off x="5097319" y="2919332"/>
            <a:ext cx="5749" cy="1099653"/>
          </a:xfrm>
          <a:prstGeom prst="line">
            <a:avLst/>
          </a:prstGeom>
          <a:noFill/>
          <a:ln w="9525" cap="flat" cmpd="sng" algn="ctr">
            <a:solidFill>
              <a:schemeClr val="accent5"/>
            </a:solidFill>
            <a:prstDash val="solid"/>
            <a:tailEnd type="oval" w="lg" len="lg"/>
          </a:ln>
          <a:effectLst/>
        </p:spPr>
      </p:cxnSp>
      <p:cxnSp>
        <p:nvCxnSpPr>
          <p:cNvPr id="21" name="Straight Connector 20">
            <a:extLst>
              <a:ext uri="{FF2B5EF4-FFF2-40B4-BE49-F238E27FC236}">
                <a16:creationId xmlns:a16="http://schemas.microsoft.com/office/drawing/2014/main" id="{CADAFF1A-F84C-9622-7F0B-2B2488158844}"/>
              </a:ext>
            </a:extLst>
          </p:cNvPr>
          <p:cNvCxnSpPr>
            <a:cxnSpLocks/>
          </p:cNvCxnSpPr>
          <p:nvPr/>
        </p:nvCxnSpPr>
        <p:spPr>
          <a:xfrm flipV="1">
            <a:off x="3074419" y="2919332"/>
            <a:ext cx="1553" cy="1104878"/>
          </a:xfrm>
          <a:prstGeom prst="line">
            <a:avLst/>
          </a:prstGeom>
          <a:noFill/>
          <a:ln w="9525" cap="flat" cmpd="sng" algn="ctr">
            <a:solidFill>
              <a:schemeClr val="accent5"/>
            </a:solidFill>
            <a:prstDash val="solid"/>
            <a:tailEnd type="oval" w="lg" len="lg"/>
          </a:ln>
          <a:effectLst/>
        </p:spPr>
      </p:cxnSp>
      <p:sp>
        <p:nvSpPr>
          <p:cNvPr id="22" name="Freeform: Shape 21">
            <a:extLst>
              <a:ext uri="{FF2B5EF4-FFF2-40B4-BE49-F238E27FC236}">
                <a16:creationId xmlns:a16="http://schemas.microsoft.com/office/drawing/2014/main" id="{2C5FCA0D-CAFD-5AFC-2051-24EAD34DBDD4}"/>
              </a:ext>
            </a:extLst>
          </p:cNvPr>
          <p:cNvSpPr/>
          <p:nvPr/>
        </p:nvSpPr>
        <p:spPr>
          <a:xfrm>
            <a:off x="3113132" y="5220185"/>
            <a:ext cx="1130400" cy="619200"/>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pic>
        <p:nvPicPr>
          <p:cNvPr id="23" name="Picture 22">
            <a:extLst>
              <a:ext uri="{FF2B5EF4-FFF2-40B4-BE49-F238E27FC236}">
                <a16:creationId xmlns:a16="http://schemas.microsoft.com/office/drawing/2014/main" id="{2937CA57-4F01-02DB-F61A-C2C2A79BA23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393817" y="3760015"/>
            <a:ext cx="1364309" cy="1293221"/>
          </a:xfrm>
          <a:prstGeom prst="rect">
            <a:avLst/>
          </a:prstGeom>
        </p:spPr>
      </p:pic>
      <p:sp>
        <p:nvSpPr>
          <p:cNvPr id="24" name="TextBox 23">
            <a:extLst>
              <a:ext uri="{FF2B5EF4-FFF2-40B4-BE49-F238E27FC236}">
                <a16:creationId xmlns:a16="http://schemas.microsoft.com/office/drawing/2014/main" id="{219D0689-1C80-A14F-9441-DF7DD3FFC864}"/>
              </a:ext>
            </a:extLst>
          </p:cNvPr>
          <p:cNvSpPr txBox="1"/>
          <p:nvPr/>
        </p:nvSpPr>
        <p:spPr>
          <a:xfrm>
            <a:off x="3174648" y="2842584"/>
            <a:ext cx="1713788" cy="193899"/>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Alta Volatilidad</a:t>
            </a:r>
            <a:endParaRPr kumimoji="0" lang="es-MX" sz="1200" b="0" i="0" u="none" strike="noStrike" kern="0" cap="none" spc="0" normalizeH="0" baseline="0" noProof="0" dirty="0">
              <a:ln>
                <a:noFill/>
              </a:ln>
              <a:effectLst/>
              <a:uLnTx/>
              <a:uFillTx/>
              <a:latin typeface="Century Gothic" panose="020B0502020202020204" pitchFamily="34" charset="0"/>
            </a:endParaRPr>
          </a:p>
        </p:txBody>
      </p:sp>
      <p:sp>
        <p:nvSpPr>
          <p:cNvPr id="25" name="TextBox 24">
            <a:extLst>
              <a:ext uri="{FF2B5EF4-FFF2-40B4-BE49-F238E27FC236}">
                <a16:creationId xmlns:a16="http://schemas.microsoft.com/office/drawing/2014/main" id="{751C0071-2FBE-1972-43A7-16655ADCD329}"/>
              </a:ext>
            </a:extLst>
          </p:cNvPr>
          <p:cNvSpPr txBox="1"/>
          <p:nvPr/>
        </p:nvSpPr>
        <p:spPr>
          <a:xfrm>
            <a:off x="6273800" y="5584890"/>
            <a:ext cx="1581101" cy="193899"/>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Colaterales</a:t>
            </a:r>
          </a:p>
        </p:txBody>
      </p:sp>
      <p:sp>
        <p:nvSpPr>
          <p:cNvPr id="26" name="TextBox 25">
            <a:extLst>
              <a:ext uri="{FF2B5EF4-FFF2-40B4-BE49-F238E27FC236}">
                <a16:creationId xmlns:a16="http://schemas.microsoft.com/office/drawing/2014/main" id="{B16580D1-B4C2-6E0F-4A7D-2F014897BF7F}"/>
              </a:ext>
            </a:extLst>
          </p:cNvPr>
          <p:cNvSpPr txBox="1"/>
          <p:nvPr/>
        </p:nvSpPr>
        <p:spPr>
          <a:xfrm>
            <a:off x="4264775" y="5624231"/>
            <a:ext cx="1314591" cy="35086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Negociación Continúa</a:t>
            </a:r>
          </a:p>
        </p:txBody>
      </p:sp>
      <p:sp>
        <p:nvSpPr>
          <p:cNvPr id="27" name="TextBox 26">
            <a:extLst>
              <a:ext uri="{FF2B5EF4-FFF2-40B4-BE49-F238E27FC236}">
                <a16:creationId xmlns:a16="http://schemas.microsoft.com/office/drawing/2014/main" id="{A49F6C18-2325-3140-C7FB-642AD5F94093}"/>
              </a:ext>
            </a:extLst>
          </p:cNvPr>
          <p:cNvSpPr txBox="1"/>
          <p:nvPr/>
        </p:nvSpPr>
        <p:spPr>
          <a:xfrm>
            <a:off x="5208926" y="2831842"/>
            <a:ext cx="1529239" cy="193899"/>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lang="en-US" sz="1200" b="1" kern="0" dirty="0">
                <a:latin typeface="Century Gothic" panose="020B0502020202020204" pitchFamily="34" charset="0"/>
              </a:rPr>
              <a:t>E</a:t>
            </a:r>
            <a:r>
              <a:rPr lang="es-MX" sz="1200" b="1" kern="0" noProof="0" dirty="0" err="1">
                <a:latin typeface="Century Gothic" panose="020B0502020202020204" pitchFamily="34" charset="0"/>
              </a:rPr>
              <a:t>xigibilidad</a:t>
            </a:r>
            <a:r>
              <a:rPr lang="es-MX" sz="1200" b="1" kern="0" noProof="0" dirty="0">
                <a:latin typeface="Century Gothic" panose="020B0502020202020204" pitchFamily="34" charset="0"/>
              </a:rPr>
              <a:t> legal</a:t>
            </a:r>
            <a:endParaRPr kumimoji="0" lang="es-MX" sz="1200" b="0" i="0" u="none" strike="noStrike" kern="0" cap="none" spc="0" normalizeH="0" baseline="0" noProof="0" dirty="0">
              <a:ln>
                <a:noFill/>
              </a:ln>
              <a:effectLst/>
              <a:uLnTx/>
              <a:uFillTx/>
              <a:latin typeface="Century Gothic" panose="020B0502020202020204" pitchFamily="34" charset="0"/>
            </a:endParaRPr>
          </a:p>
        </p:txBody>
      </p:sp>
      <p:cxnSp>
        <p:nvCxnSpPr>
          <p:cNvPr id="28" name="Straight Connector 27">
            <a:extLst>
              <a:ext uri="{FF2B5EF4-FFF2-40B4-BE49-F238E27FC236}">
                <a16:creationId xmlns:a16="http://schemas.microsoft.com/office/drawing/2014/main" id="{846B6389-9B93-5E1A-40CB-F1BF173A3241}"/>
              </a:ext>
            </a:extLst>
          </p:cNvPr>
          <p:cNvCxnSpPr>
            <a:cxnSpLocks/>
          </p:cNvCxnSpPr>
          <p:nvPr/>
        </p:nvCxnSpPr>
        <p:spPr>
          <a:xfrm>
            <a:off x="4175049" y="5536943"/>
            <a:ext cx="0" cy="158518"/>
          </a:xfrm>
          <a:prstGeom prst="line">
            <a:avLst/>
          </a:prstGeom>
          <a:noFill/>
          <a:ln w="9525" cap="flat" cmpd="sng" algn="ctr">
            <a:solidFill>
              <a:schemeClr val="accent5"/>
            </a:solidFill>
            <a:prstDash val="solid"/>
            <a:tailEnd type="oval" w="lg" len="lg"/>
          </a:ln>
          <a:effectLst/>
        </p:spPr>
      </p:cxnSp>
      <p:cxnSp>
        <p:nvCxnSpPr>
          <p:cNvPr id="29" name="Straight Connector 28">
            <a:extLst>
              <a:ext uri="{FF2B5EF4-FFF2-40B4-BE49-F238E27FC236}">
                <a16:creationId xmlns:a16="http://schemas.microsoft.com/office/drawing/2014/main" id="{1DADBFFD-E44B-D95F-56BC-1D2A44D96118}"/>
              </a:ext>
            </a:extLst>
          </p:cNvPr>
          <p:cNvCxnSpPr>
            <a:cxnSpLocks/>
          </p:cNvCxnSpPr>
          <p:nvPr/>
        </p:nvCxnSpPr>
        <p:spPr>
          <a:xfrm>
            <a:off x="6157063" y="5519508"/>
            <a:ext cx="0" cy="158518"/>
          </a:xfrm>
          <a:prstGeom prst="line">
            <a:avLst/>
          </a:prstGeom>
          <a:noFill/>
          <a:ln w="9525" cap="flat" cmpd="sng" algn="ctr">
            <a:solidFill>
              <a:schemeClr val="accent5"/>
            </a:solidFill>
            <a:prstDash val="solid"/>
            <a:tailEnd type="oval" w="lg" len="lg"/>
          </a:ln>
          <a:effectLst/>
        </p:spPr>
      </p:cxnSp>
      <p:sp>
        <p:nvSpPr>
          <p:cNvPr id="30" name="Freeform: Shape 29">
            <a:extLst>
              <a:ext uri="{FF2B5EF4-FFF2-40B4-BE49-F238E27FC236}">
                <a16:creationId xmlns:a16="http://schemas.microsoft.com/office/drawing/2014/main" id="{0CEB9B31-1E0E-8283-9372-C490A10EB20F}"/>
              </a:ext>
            </a:extLst>
          </p:cNvPr>
          <p:cNvSpPr/>
          <p:nvPr/>
        </p:nvSpPr>
        <p:spPr>
          <a:xfrm>
            <a:off x="5076159" y="5224570"/>
            <a:ext cx="1131859" cy="620817"/>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sp>
        <p:nvSpPr>
          <p:cNvPr id="32" name="Freeform: Shape 31">
            <a:extLst>
              <a:ext uri="{FF2B5EF4-FFF2-40B4-BE49-F238E27FC236}">
                <a16:creationId xmlns:a16="http://schemas.microsoft.com/office/drawing/2014/main" id="{EE115D92-1892-228C-CD3C-95DD555325DB}"/>
              </a:ext>
            </a:extLst>
          </p:cNvPr>
          <p:cNvSpPr/>
          <p:nvPr/>
        </p:nvSpPr>
        <p:spPr>
          <a:xfrm>
            <a:off x="3985249" y="4708932"/>
            <a:ext cx="1131859" cy="620817"/>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sp>
        <p:nvSpPr>
          <p:cNvPr id="93" name="Freeform: Shape 92">
            <a:extLst>
              <a:ext uri="{FF2B5EF4-FFF2-40B4-BE49-F238E27FC236}">
                <a16:creationId xmlns:a16="http://schemas.microsoft.com/office/drawing/2014/main" id="{8D5B1C52-B330-F62B-557D-9E557F1AE727}"/>
              </a:ext>
            </a:extLst>
          </p:cNvPr>
          <p:cNvSpPr/>
          <p:nvPr/>
        </p:nvSpPr>
        <p:spPr>
          <a:xfrm>
            <a:off x="6018910" y="4708932"/>
            <a:ext cx="1131859" cy="620817"/>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pic>
        <p:nvPicPr>
          <p:cNvPr id="94" name="Picture 93">
            <a:extLst>
              <a:ext uri="{FF2B5EF4-FFF2-40B4-BE49-F238E27FC236}">
                <a16:creationId xmlns:a16="http://schemas.microsoft.com/office/drawing/2014/main" id="{0812ABB5-B032-90E7-C781-AA79DD617B9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427867" y="3760015"/>
            <a:ext cx="1361250" cy="1293221"/>
          </a:xfrm>
          <a:prstGeom prst="rect">
            <a:avLst/>
          </a:prstGeom>
        </p:spPr>
      </p:pic>
      <p:pic>
        <p:nvPicPr>
          <p:cNvPr id="96" name="Picture 95">
            <a:extLst>
              <a:ext uri="{FF2B5EF4-FFF2-40B4-BE49-F238E27FC236}">
                <a16:creationId xmlns:a16="http://schemas.microsoft.com/office/drawing/2014/main" id="{06148BB0-ACF7-CE0D-506D-6A035B0387FA}"/>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3497008" y="4280547"/>
            <a:ext cx="1364309" cy="1296127"/>
          </a:xfrm>
          <a:prstGeom prst="rect">
            <a:avLst/>
          </a:prstGeom>
        </p:spPr>
      </p:pic>
      <p:sp>
        <p:nvSpPr>
          <p:cNvPr id="97" name="TextBox 96">
            <a:extLst>
              <a:ext uri="{FF2B5EF4-FFF2-40B4-BE49-F238E27FC236}">
                <a16:creationId xmlns:a16="http://schemas.microsoft.com/office/drawing/2014/main" id="{35693AE8-ABB9-308C-F6C5-7379560CF57E}"/>
              </a:ext>
            </a:extLst>
          </p:cNvPr>
          <p:cNvSpPr txBox="1"/>
          <p:nvPr/>
        </p:nvSpPr>
        <p:spPr>
          <a:xfrm>
            <a:off x="2811380" y="4192353"/>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s-MX" sz="3200">
                <a:latin typeface="Century Gothic" panose="020B0502020202020204" pitchFamily="34" charset="0"/>
              </a:rPr>
              <a:t>1</a:t>
            </a:r>
          </a:p>
        </p:txBody>
      </p:sp>
      <p:sp>
        <p:nvSpPr>
          <p:cNvPr id="98" name="TextBox 97">
            <a:extLst>
              <a:ext uri="{FF2B5EF4-FFF2-40B4-BE49-F238E27FC236}">
                <a16:creationId xmlns:a16="http://schemas.microsoft.com/office/drawing/2014/main" id="{2C1149D8-327C-BD20-DEA4-78A480FAE611}"/>
              </a:ext>
            </a:extLst>
          </p:cNvPr>
          <p:cNvSpPr txBox="1"/>
          <p:nvPr/>
        </p:nvSpPr>
        <p:spPr>
          <a:xfrm>
            <a:off x="3974188" y="4685637"/>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s-MX" sz="3200">
                <a:latin typeface="Century Gothic" panose="020B0502020202020204" pitchFamily="34" charset="0"/>
              </a:rPr>
              <a:t>2</a:t>
            </a:r>
          </a:p>
        </p:txBody>
      </p:sp>
      <p:sp>
        <p:nvSpPr>
          <p:cNvPr id="99" name="TextBox 98">
            <a:extLst>
              <a:ext uri="{FF2B5EF4-FFF2-40B4-BE49-F238E27FC236}">
                <a16:creationId xmlns:a16="http://schemas.microsoft.com/office/drawing/2014/main" id="{65BDB2AC-425B-EC98-302A-7203149A4EE8}"/>
              </a:ext>
            </a:extLst>
          </p:cNvPr>
          <p:cNvSpPr txBox="1"/>
          <p:nvPr/>
        </p:nvSpPr>
        <p:spPr>
          <a:xfrm>
            <a:off x="4875304" y="4188519"/>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s-MX" sz="3200" dirty="0">
                <a:latin typeface="Century Gothic" panose="020B0502020202020204" pitchFamily="34" charset="0"/>
              </a:rPr>
              <a:t>3</a:t>
            </a:r>
          </a:p>
        </p:txBody>
      </p:sp>
      <p:sp>
        <p:nvSpPr>
          <p:cNvPr id="100" name="TextBox 99">
            <a:extLst>
              <a:ext uri="{FF2B5EF4-FFF2-40B4-BE49-F238E27FC236}">
                <a16:creationId xmlns:a16="http://schemas.microsoft.com/office/drawing/2014/main" id="{A7EAC003-5AA6-4EB6-7423-1F98C9C2379E}"/>
              </a:ext>
            </a:extLst>
          </p:cNvPr>
          <p:cNvSpPr txBox="1"/>
          <p:nvPr/>
        </p:nvSpPr>
        <p:spPr>
          <a:xfrm>
            <a:off x="5971058" y="4688241"/>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s-MX" sz="3200" dirty="0">
                <a:latin typeface="Century Gothic" panose="020B0502020202020204" pitchFamily="34" charset="0"/>
              </a:rPr>
              <a:t>4</a:t>
            </a:r>
          </a:p>
        </p:txBody>
      </p:sp>
      <p:cxnSp>
        <p:nvCxnSpPr>
          <p:cNvPr id="102" name="Straight Connector 101">
            <a:extLst>
              <a:ext uri="{FF2B5EF4-FFF2-40B4-BE49-F238E27FC236}">
                <a16:creationId xmlns:a16="http://schemas.microsoft.com/office/drawing/2014/main" id="{BE089090-0897-F715-098B-F543B030DBEE}"/>
              </a:ext>
            </a:extLst>
          </p:cNvPr>
          <p:cNvCxnSpPr>
            <a:cxnSpLocks/>
          </p:cNvCxnSpPr>
          <p:nvPr/>
        </p:nvCxnSpPr>
        <p:spPr>
          <a:xfrm flipV="1">
            <a:off x="7252974" y="2907602"/>
            <a:ext cx="1553" cy="1104878"/>
          </a:xfrm>
          <a:prstGeom prst="line">
            <a:avLst/>
          </a:prstGeom>
          <a:noFill/>
          <a:ln w="9525" cap="flat" cmpd="sng" algn="ctr">
            <a:solidFill>
              <a:schemeClr val="accent5"/>
            </a:solidFill>
            <a:prstDash val="solid"/>
            <a:tailEnd type="oval" w="lg" len="lg"/>
          </a:ln>
          <a:effectLst/>
        </p:spPr>
      </p:cxnSp>
      <p:sp>
        <p:nvSpPr>
          <p:cNvPr id="103" name="Freeform: Shape 102">
            <a:extLst>
              <a:ext uri="{FF2B5EF4-FFF2-40B4-BE49-F238E27FC236}">
                <a16:creationId xmlns:a16="http://schemas.microsoft.com/office/drawing/2014/main" id="{9ECE1AAE-A6BA-D3C4-E7B5-AC4A46BD277E}"/>
              </a:ext>
            </a:extLst>
          </p:cNvPr>
          <p:cNvSpPr/>
          <p:nvPr/>
        </p:nvSpPr>
        <p:spPr>
          <a:xfrm>
            <a:off x="7291687" y="5208455"/>
            <a:ext cx="1130400" cy="619200"/>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pic>
        <p:nvPicPr>
          <p:cNvPr id="104" name="Picture 103">
            <a:extLst>
              <a:ext uri="{FF2B5EF4-FFF2-40B4-BE49-F238E27FC236}">
                <a16:creationId xmlns:a16="http://schemas.microsoft.com/office/drawing/2014/main" id="{6886DBC5-A8D2-D87E-7FB2-CEB239C65FC0}"/>
              </a:ext>
            </a:extLst>
          </p:cNvPr>
          <p:cNvPicPr>
            <a:picLocks noChangeAspect="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a:stretch/>
        </p:blipFill>
        <p:spPr>
          <a:xfrm>
            <a:off x="6546972" y="3786385"/>
            <a:ext cx="1364309" cy="1293221"/>
          </a:xfrm>
          <a:prstGeom prst="rect">
            <a:avLst/>
          </a:prstGeom>
        </p:spPr>
      </p:pic>
      <p:sp>
        <p:nvSpPr>
          <p:cNvPr id="105" name="TextBox 104">
            <a:extLst>
              <a:ext uri="{FF2B5EF4-FFF2-40B4-BE49-F238E27FC236}">
                <a16:creationId xmlns:a16="http://schemas.microsoft.com/office/drawing/2014/main" id="{432FF44B-98C9-E82A-4C1C-FF2948151931}"/>
              </a:ext>
            </a:extLst>
          </p:cNvPr>
          <p:cNvSpPr txBox="1"/>
          <p:nvPr/>
        </p:nvSpPr>
        <p:spPr>
          <a:xfrm>
            <a:off x="7353203" y="2830854"/>
            <a:ext cx="1713788" cy="35086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Consideraciones regulatorias</a:t>
            </a:r>
            <a:endParaRPr kumimoji="0" lang="es-MX" sz="1200" b="0" i="0" u="none" strike="noStrike" kern="0" cap="none" spc="0" normalizeH="0" baseline="0" noProof="0" dirty="0">
              <a:ln>
                <a:noFill/>
              </a:ln>
              <a:effectLst/>
              <a:uLnTx/>
              <a:uFillTx/>
              <a:latin typeface="Century Gothic" panose="020B0502020202020204" pitchFamily="34" charset="0"/>
            </a:endParaRPr>
          </a:p>
        </p:txBody>
      </p:sp>
      <p:cxnSp>
        <p:nvCxnSpPr>
          <p:cNvPr id="106" name="Straight Connector 105">
            <a:extLst>
              <a:ext uri="{FF2B5EF4-FFF2-40B4-BE49-F238E27FC236}">
                <a16:creationId xmlns:a16="http://schemas.microsoft.com/office/drawing/2014/main" id="{92C037BE-7761-AF51-514B-BA653A98C88B}"/>
              </a:ext>
            </a:extLst>
          </p:cNvPr>
          <p:cNvCxnSpPr>
            <a:cxnSpLocks/>
          </p:cNvCxnSpPr>
          <p:nvPr/>
        </p:nvCxnSpPr>
        <p:spPr>
          <a:xfrm>
            <a:off x="8353604" y="5525213"/>
            <a:ext cx="0" cy="158518"/>
          </a:xfrm>
          <a:prstGeom prst="line">
            <a:avLst/>
          </a:prstGeom>
          <a:noFill/>
          <a:ln w="9525" cap="flat" cmpd="sng" algn="ctr">
            <a:solidFill>
              <a:schemeClr val="accent5"/>
            </a:solidFill>
            <a:prstDash val="solid"/>
            <a:tailEnd type="oval" w="lg" len="lg"/>
          </a:ln>
          <a:effectLst/>
        </p:spPr>
      </p:cxnSp>
      <p:sp>
        <p:nvSpPr>
          <p:cNvPr id="107" name="Freeform: Shape 106">
            <a:extLst>
              <a:ext uri="{FF2B5EF4-FFF2-40B4-BE49-F238E27FC236}">
                <a16:creationId xmlns:a16="http://schemas.microsoft.com/office/drawing/2014/main" id="{69F7EF6A-C5FF-D30C-DC37-94437D0B578D}"/>
              </a:ext>
            </a:extLst>
          </p:cNvPr>
          <p:cNvSpPr/>
          <p:nvPr/>
        </p:nvSpPr>
        <p:spPr>
          <a:xfrm>
            <a:off x="8163804" y="4697202"/>
            <a:ext cx="1131859" cy="620817"/>
          </a:xfrm>
          <a:custGeom>
            <a:avLst/>
            <a:gdLst>
              <a:gd name="connsiteX0" fmla="*/ 0 w 3393611"/>
              <a:gd name="connsiteY0" fmla="*/ 979644 h 1959288"/>
              <a:gd name="connsiteX1" fmla="*/ 1696847 w 3393611"/>
              <a:gd name="connsiteY1" fmla="*/ 1959289 h 1959288"/>
              <a:gd name="connsiteX2" fmla="*/ 3393612 w 3393611"/>
              <a:gd name="connsiteY2" fmla="*/ 979644 h 1959288"/>
              <a:gd name="connsiteX3" fmla="*/ 1696847 w 3393611"/>
              <a:gd name="connsiteY3" fmla="*/ 0 h 1959288"/>
              <a:gd name="connsiteX4" fmla="*/ 0 w 3393611"/>
              <a:gd name="connsiteY4" fmla="*/ 979644 h 1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3611" h="1959288">
                <a:moveTo>
                  <a:pt x="0" y="979644"/>
                </a:moveTo>
                <a:lnTo>
                  <a:pt x="1696847" y="1959289"/>
                </a:lnTo>
                <a:lnTo>
                  <a:pt x="3393612" y="979644"/>
                </a:lnTo>
                <a:lnTo>
                  <a:pt x="1696847" y="0"/>
                </a:lnTo>
                <a:lnTo>
                  <a:pt x="0" y="979644"/>
                </a:lnTo>
                <a:close/>
              </a:path>
            </a:pathLst>
          </a:custGeom>
          <a:gradFill>
            <a:gsLst>
              <a:gs pos="0">
                <a:srgbClr val="FFFFFF">
                  <a:lumMod val="50000"/>
                </a:srgbClr>
              </a:gs>
              <a:gs pos="59000">
                <a:srgbClr val="FFFFFF">
                  <a:lumMod val="85000"/>
                  <a:alpha val="0"/>
                </a:srgbClr>
              </a:gs>
            </a:gsLst>
            <a:lin ang="6600000" scaled="0"/>
          </a:gra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a:ln>
                <a:noFill/>
              </a:ln>
              <a:effectLst/>
              <a:uLnTx/>
              <a:uFillTx/>
              <a:latin typeface="Century Gothic" panose="020B0502020202020204" pitchFamily="34" charset="0"/>
            </a:endParaRPr>
          </a:p>
        </p:txBody>
      </p:sp>
      <p:pic>
        <p:nvPicPr>
          <p:cNvPr id="108" name="Picture 107">
            <a:extLst>
              <a:ext uri="{FF2B5EF4-FFF2-40B4-BE49-F238E27FC236}">
                <a16:creationId xmlns:a16="http://schemas.microsoft.com/office/drawing/2014/main" id="{221CA3B6-28DB-A6B6-E8BF-8BD33CE48AEE}"/>
              </a:ext>
            </a:extLst>
          </p:cNvPr>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675563" y="4268817"/>
            <a:ext cx="1364309" cy="1296127"/>
          </a:xfrm>
          <a:prstGeom prst="rect">
            <a:avLst/>
          </a:prstGeom>
          <a:ln>
            <a:noFill/>
          </a:ln>
        </p:spPr>
      </p:pic>
      <p:sp>
        <p:nvSpPr>
          <p:cNvPr id="117" name="TextBox 116">
            <a:extLst>
              <a:ext uri="{FF2B5EF4-FFF2-40B4-BE49-F238E27FC236}">
                <a16:creationId xmlns:a16="http://schemas.microsoft.com/office/drawing/2014/main" id="{C434D5CC-084E-5989-D3D0-355FBEF79F82}"/>
              </a:ext>
            </a:extLst>
          </p:cNvPr>
          <p:cNvSpPr txBox="1"/>
          <p:nvPr/>
        </p:nvSpPr>
        <p:spPr>
          <a:xfrm>
            <a:off x="6989935" y="4180623"/>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n-US" sz="3200" dirty="0">
                <a:latin typeface="Century Gothic" panose="020B0502020202020204" pitchFamily="34" charset="0"/>
              </a:rPr>
              <a:t>5</a:t>
            </a:r>
            <a:endParaRPr lang="es-MX" sz="3200" dirty="0">
              <a:latin typeface="Century Gothic" panose="020B0502020202020204" pitchFamily="34" charset="0"/>
            </a:endParaRPr>
          </a:p>
        </p:txBody>
      </p:sp>
      <p:sp>
        <p:nvSpPr>
          <p:cNvPr id="118" name="TextBox 117">
            <a:extLst>
              <a:ext uri="{FF2B5EF4-FFF2-40B4-BE49-F238E27FC236}">
                <a16:creationId xmlns:a16="http://schemas.microsoft.com/office/drawing/2014/main" id="{A0D30B8A-F787-D874-CC63-0E1ACF8A2604}"/>
              </a:ext>
            </a:extLst>
          </p:cNvPr>
          <p:cNvSpPr txBox="1"/>
          <p:nvPr/>
        </p:nvSpPr>
        <p:spPr>
          <a:xfrm>
            <a:off x="8152743" y="4673907"/>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n-US" sz="3200" dirty="0">
                <a:latin typeface="Century Gothic" panose="020B0502020202020204" pitchFamily="34" charset="0"/>
              </a:rPr>
              <a:t>6</a:t>
            </a:r>
            <a:endParaRPr lang="es-MX" sz="3200" dirty="0">
              <a:latin typeface="Century Gothic" panose="020B0502020202020204" pitchFamily="34" charset="0"/>
            </a:endParaRPr>
          </a:p>
        </p:txBody>
      </p:sp>
      <p:pic>
        <p:nvPicPr>
          <p:cNvPr id="95" name="Picture 94">
            <a:extLst>
              <a:ext uri="{FF2B5EF4-FFF2-40B4-BE49-F238E27FC236}">
                <a16:creationId xmlns:a16="http://schemas.microsoft.com/office/drawing/2014/main" id="{950A61B7-38F2-F006-459C-C90FDABF7AF7}"/>
              </a:ext>
            </a:extLst>
          </p:cNvPr>
          <p:cNvPicPr>
            <a:picLocks noChangeAspect="1"/>
          </p:cNvPicPr>
          <p:nvPr/>
        </p:nvPicPr>
        <p:blipFill>
          <a:blip r:embed="rId6" cstate="print">
            <a:lum bright="70000" contrast="-70000"/>
            <a:extLst>
              <a:ext uri="{28A0092B-C50C-407E-A947-70E740481C1C}">
                <a14:useLocalDpi xmlns:a14="http://schemas.microsoft.com/office/drawing/2010/main" val="0"/>
              </a:ext>
            </a:extLst>
          </a:blip>
          <a:srcRect/>
          <a:stretch/>
        </p:blipFill>
        <p:spPr>
          <a:xfrm>
            <a:off x="5519264" y="4271723"/>
            <a:ext cx="1364309" cy="1293221"/>
          </a:xfrm>
          <a:prstGeom prst="rect">
            <a:avLst/>
          </a:prstGeom>
        </p:spPr>
      </p:pic>
      <p:sp>
        <p:nvSpPr>
          <p:cNvPr id="119" name="TextBox 118">
            <a:extLst>
              <a:ext uri="{FF2B5EF4-FFF2-40B4-BE49-F238E27FC236}">
                <a16:creationId xmlns:a16="http://schemas.microsoft.com/office/drawing/2014/main" id="{AED432B1-AF00-F2EB-6E65-9C8D3758B5A5}"/>
              </a:ext>
            </a:extLst>
          </p:cNvPr>
          <p:cNvSpPr txBox="1"/>
          <p:nvPr/>
        </p:nvSpPr>
        <p:spPr>
          <a:xfrm>
            <a:off x="5969301" y="4757654"/>
            <a:ext cx="476006" cy="480131"/>
          </a:xfrm>
          <a:prstGeom prst="rect">
            <a:avLst/>
          </a:prstGeom>
          <a:noFill/>
        </p:spPr>
        <p:txBody>
          <a:bodyPr wrap="square" lIns="0" tIns="36576" rIns="0" bIns="0" rtlCol="0" anchor="ctr">
            <a:spAutoFit/>
          </a:bodyPr>
          <a:lstStyle/>
          <a:p>
            <a:pPr algn="ctr">
              <a:lnSpc>
                <a:spcPct val="90000"/>
              </a:lnSpc>
              <a:spcBef>
                <a:spcPts val="400"/>
              </a:spcBef>
              <a:spcAft>
                <a:spcPts val="400"/>
              </a:spcAft>
              <a:buClr>
                <a:schemeClr val="tx2"/>
              </a:buClr>
              <a:buSzPct val="100000"/>
            </a:pPr>
            <a:r>
              <a:rPr lang="en-US" sz="3200" dirty="0">
                <a:latin typeface="Century Gothic" panose="020B0502020202020204" pitchFamily="34" charset="0"/>
              </a:rPr>
              <a:t>4</a:t>
            </a:r>
            <a:endParaRPr lang="es-MX" sz="3200" dirty="0">
              <a:latin typeface="Century Gothic" panose="020B0502020202020204" pitchFamily="34" charset="0"/>
            </a:endParaRPr>
          </a:p>
        </p:txBody>
      </p:sp>
      <p:sp>
        <p:nvSpPr>
          <p:cNvPr id="121" name="TextBox 120">
            <a:extLst>
              <a:ext uri="{FF2B5EF4-FFF2-40B4-BE49-F238E27FC236}">
                <a16:creationId xmlns:a16="http://schemas.microsoft.com/office/drawing/2014/main" id="{E9904C56-4D5B-79EF-3A14-D0632211108C}"/>
              </a:ext>
            </a:extLst>
          </p:cNvPr>
          <p:cNvSpPr txBox="1"/>
          <p:nvPr/>
        </p:nvSpPr>
        <p:spPr>
          <a:xfrm>
            <a:off x="8441529" y="5624230"/>
            <a:ext cx="1581101" cy="35086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Concentración en el mercado</a:t>
            </a:r>
          </a:p>
        </p:txBody>
      </p:sp>
    </p:spTree>
    <p:extLst>
      <p:ext uri="{BB962C8B-B14F-4D97-AF65-F5344CB8AC3E}">
        <p14:creationId xmlns:p14="http://schemas.microsoft.com/office/powerpoint/2010/main" val="246144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EC2A1-8015-43F7-86D7-5C1CDC9ED715}"/>
            </a:ext>
          </a:extLst>
        </p:cNvPr>
        <p:cNvGrpSpPr/>
        <p:nvPr/>
      </p:nvGrpSpPr>
      <p:grpSpPr>
        <a:xfrm>
          <a:off x="0" y="0"/>
          <a:ext cx="0" cy="0"/>
          <a:chOff x="0" y="0"/>
          <a:chExt cx="0" cy="0"/>
        </a:xfrm>
      </p:grpSpPr>
      <p:sp>
        <p:nvSpPr>
          <p:cNvPr id="11" name="Rectángulo 10">
            <a:extLst>
              <a:ext uri="{FF2B5EF4-FFF2-40B4-BE49-F238E27FC236}">
                <a16:creationId xmlns:a16="http://schemas.microsoft.com/office/drawing/2014/main" id="{F9842C8C-C733-A4F6-9C8F-21A6A7168ED9}"/>
              </a:ext>
            </a:extLst>
          </p:cNvPr>
          <p:cNvSpPr/>
          <p:nvPr/>
        </p:nvSpPr>
        <p:spPr>
          <a:xfrm>
            <a:off x="-25632" y="33133"/>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dirty="0">
                <a:solidFill>
                  <a:srgbClr val="5F2364"/>
                </a:solidFill>
              </a:rPr>
              <a:t>s</a:t>
            </a:r>
          </a:p>
        </p:txBody>
      </p:sp>
      <p:sp>
        <p:nvSpPr>
          <p:cNvPr id="4" name="Rectángulo 3">
            <a:extLst>
              <a:ext uri="{FF2B5EF4-FFF2-40B4-BE49-F238E27FC236}">
                <a16:creationId xmlns:a16="http://schemas.microsoft.com/office/drawing/2014/main" id="{1E2FFC7E-800B-7D0C-4473-7126EBC1B1C3}"/>
              </a:ext>
            </a:extLst>
          </p:cNvPr>
          <p:cNvSpPr/>
          <p:nvPr/>
        </p:nvSpPr>
        <p:spPr>
          <a:xfrm>
            <a:off x="-92" y="0"/>
            <a:ext cx="3454492" cy="6858000"/>
          </a:xfrm>
          <a:prstGeom prst="rect">
            <a:avLst/>
          </a:prstGeom>
          <a:gradFill flip="none" rotWithShape="1">
            <a:gsLst>
              <a:gs pos="1000">
                <a:srgbClr val="525C9C"/>
              </a:gs>
              <a:gs pos="100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1" name="CuadroTexto 30">
            <a:extLst>
              <a:ext uri="{FF2B5EF4-FFF2-40B4-BE49-F238E27FC236}">
                <a16:creationId xmlns:a16="http://schemas.microsoft.com/office/drawing/2014/main" id="{4A4B7065-38BC-8C6F-C209-E61CC91EE8AD}"/>
              </a:ext>
            </a:extLst>
          </p:cNvPr>
          <p:cNvSpPr txBox="1"/>
          <p:nvPr/>
        </p:nvSpPr>
        <p:spPr>
          <a:xfrm>
            <a:off x="498978" y="497305"/>
            <a:ext cx="3269468" cy="1037720"/>
          </a:xfrm>
          <a:prstGeom prst="rect">
            <a:avLst/>
          </a:prstGeom>
          <a:noFill/>
        </p:spPr>
        <p:txBody>
          <a:bodyPr wrap="square" rtlCol="0">
            <a:spAutoFit/>
          </a:bodyPr>
          <a:lstStyle/>
          <a:p>
            <a:pPr>
              <a:lnSpc>
                <a:spcPct val="115000"/>
              </a:lnSpc>
              <a:spcAft>
                <a:spcPts val="800"/>
              </a:spcAft>
            </a:pP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Inteligencia Artificial </a:t>
            </a:r>
          </a:p>
        </p:txBody>
      </p:sp>
      <p:sp>
        <p:nvSpPr>
          <p:cNvPr id="38" name="Rectángulo redondeado 37">
            <a:extLst>
              <a:ext uri="{FF2B5EF4-FFF2-40B4-BE49-F238E27FC236}">
                <a16:creationId xmlns:a16="http://schemas.microsoft.com/office/drawing/2014/main" id="{1821601F-44F8-11FC-4BCB-7746C6F17944}"/>
              </a:ext>
            </a:extLst>
          </p:cNvPr>
          <p:cNvSpPr/>
          <p:nvPr/>
        </p:nvSpPr>
        <p:spPr>
          <a:xfrm rot="18900000">
            <a:off x="603160" y="4653067"/>
            <a:ext cx="1392919" cy="231626"/>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39" name="Rectángulo redondeado 38">
            <a:extLst>
              <a:ext uri="{FF2B5EF4-FFF2-40B4-BE49-F238E27FC236}">
                <a16:creationId xmlns:a16="http://schemas.microsoft.com/office/drawing/2014/main" id="{5CE7326B-BA19-C8D3-5CC2-C92619F7463A}"/>
              </a:ext>
            </a:extLst>
          </p:cNvPr>
          <p:cNvSpPr/>
          <p:nvPr/>
        </p:nvSpPr>
        <p:spPr>
          <a:xfrm rot="18900000">
            <a:off x="-553587" y="5865140"/>
            <a:ext cx="3139517" cy="522064"/>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1" name="Rectángulo redondeado 40">
            <a:extLst>
              <a:ext uri="{FF2B5EF4-FFF2-40B4-BE49-F238E27FC236}">
                <a16:creationId xmlns:a16="http://schemas.microsoft.com/office/drawing/2014/main" id="{3D66EB67-E29B-4F32-07E6-8A857D238219}"/>
              </a:ext>
            </a:extLst>
          </p:cNvPr>
          <p:cNvSpPr/>
          <p:nvPr/>
        </p:nvSpPr>
        <p:spPr>
          <a:xfrm rot="18900000">
            <a:off x="10204017" y="6174626"/>
            <a:ext cx="2525453" cy="419953"/>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2" name="Imagen 41">
            <a:extLst>
              <a:ext uri="{FF2B5EF4-FFF2-40B4-BE49-F238E27FC236}">
                <a16:creationId xmlns:a16="http://schemas.microsoft.com/office/drawing/2014/main" id="{71727811-2874-DBF4-AA93-D40F3A1D7FE8}"/>
              </a:ext>
            </a:extLst>
          </p:cNvPr>
          <p:cNvPicPr>
            <a:picLocks noChangeAspect="1"/>
          </p:cNvPicPr>
          <p:nvPr/>
        </p:nvPicPr>
        <p:blipFill>
          <a:blip r:embed="rId3"/>
          <a:stretch>
            <a:fillRect/>
          </a:stretch>
        </p:blipFill>
        <p:spPr>
          <a:xfrm>
            <a:off x="-221175" y="3716338"/>
            <a:ext cx="822431" cy="813492"/>
          </a:xfrm>
          <a:prstGeom prst="rect">
            <a:avLst/>
          </a:prstGeom>
        </p:spPr>
      </p:pic>
      <p:sp>
        <p:nvSpPr>
          <p:cNvPr id="43" name="Rectángulo redondeado 42">
            <a:extLst>
              <a:ext uri="{FF2B5EF4-FFF2-40B4-BE49-F238E27FC236}">
                <a16:creationId xmlns:a16="http://schemas.microsoft.com/office/drawing/2014/main" id="{3FBD02BA-DF31-45F8-06EA-AC4C47F8F779}"/>
              </a:ext>
            </a:extLst>
          </p:cNvPr>
          <p:cNvSpPr/>
          <p:nvPr/>
        </p:nvSpPr>
        <p:spPr>
          <a:xfrm>
            <a:off x="2219778" y="4362134"/>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2" name="TextBox 1">
            <a:extLst>
              <a:ext uri="{FF2B5EF4-FFF2-40B4-BE49-F238E27FC236}">
                <a16:creationId xmlns:a16="http://schemas.microsoft.com/office/drawing/2014/main" id="{13718FD1-FF35-291E-5CD4-A5633677BC19}"/>
              </a:ext>
            </a:extLst>
          </p:cNvPr>
          <p:cNvSpPr txBox="1"/>
          <p:nvPr/>
        </p:nvSpPr>
        <p:spPr>
          <a:xfrm>
            <a:off x="579418" y="1598144"/>
            <a:ext cx="2589129" cy="2462213"/>
          </a:xfrm>
          <a:prstGeom prst="rect">
            <a:avLst/>
          </a:prstGeom>
          <a:noFill/>
        </p:spPr>
        <p:txBody>
          <a:bodyPr wrap="square">
            <a:spAutoFit/>
          </a:bodyPr>
          <a:lstStyle/>
          <a:p>
            <a:pPr lvl="0" algn="just" defTabSz="913029">
              <a:spcBef>
                <a:spcPts val="600"/>
              </a:spcBef>
              <a:buClr>
                <a:srgbClr val="FFE600"/>
              </a:buClr>
              <a:buSzPct val="100000"/>
              <a:defRPr/>
            </a:pP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En todas las industrias, las organizaciones están experimentando cada vez </a:t>
            </a:r>
            <a:r>
              <a:rPr lang="es-MX" sz="1400" i="1" kern="0" dirty="0">
                <a:solidFill>
                  <a:schemeClr val="bg1"/>
                </a:solidFill>
                <a:latin typeface="Century Gothic" panose="020B0502020202020204" pitchFamily="34" charset="0"/>
              </a:rPr>
              <a:t>más mayores e impredecibles cambios </a:t>
            </a: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en el entorno empresarial debido al aumento exponencial de los avances en la Inteligencia Artificial (IA) y su adopción generalizada.</a:t>
            </a:r>
          </a:p>
        </p:txBody>
      </p:sp>
      <p:sp>
        <p:nvSpPr>
          <p:cNvPr id="47" name="TextBox 46">
            <a:extLst>
              <a:ext uri="{FF2B5EF4-FFF2-40B4-BE49-F238E27FC236}">
                <a16:creationId xmlns:a16="http://schemas.microsoft.com/office/drawing/2014/main" id="{B884D3A1-3F0D-05ED-670F-AB984D167276}"/>
              </a:ext>
            </a:extLst>
          </p:cNvPr>
          <p:cNvSpPr txBox="1"/>
          <p:nvPr/>
        </p:nvSpPr>
        <p:spPr>
          <a:xfrm>
            <a:off x="3618214" y="1602212"/>
            <a:ext cx="1660494" cy="86023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kumimoji="0" lang="es-MX" sz="1200" b="1" i="0" u="none" strike="noStrike" kern="0" cap="none" spc="0" normalizeH="0" baseline="0" noProof="0" dirty="0">
                <a:ln>
                  <a:noFill/>
                </a:ln>
                <a:effectLst/>
                <a:uLnTx/>
                <a:uFillTx/>
                <a:latin typeface="Century Gothic" panose="020B0502020202020204" pitchFamily="34" charset="0"/>
              </a:rPr>
              <a:t>Operaciones</a:t>
            </a: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kern="0" dirty="0">
                <a:latin typeface="Century Gothic" panose="020B0502020202020204" pitchFamily="34" charset="0"/>
              </a:rPr>
              <a:t>M</a:t>
            </a:r>
            <a:r>
              <a:rPr kumimoji="0" lang="es-MX" sz="1200" i="0" u="none" strike="noStrike" kern="0" cap="none" spc="0" normalizeH="0" baseline="0" noProof="0" dirty="0" err="1">
                <a:ln>
                  <a:noFill/>
                </a:ln>
                <a:effectLst/>
                <a:uLnTx/>
                <a:uFillTx/>
                <a:latin typeface="Century Gothic" panose="020B0502020202020204" pitchFamily="34" charset="0"/>
              </a:rPr>
              <a:t>ejoras</a:t>
            </a:r>
            <a:r>
              <a:rPr kumimoji="0" lang="es-MX" sz="1200" i="0" u="none" strike="noStrike" kern="0" cap="none" spc="0" normalizeH="0" baseline="0" noProof="0" dirty="0">
                <a:ln>
                  <a:noFill/>
                </a:ln>
                <a:effectLst/>
                <a:uLnTx/>
                <a:uFillTx/>
                <a:latin typeface="Century Gothic" panose="020B0502020202020204" pitchFamily="34" charset="0"/>
              </a:rPr>
              <a:t> en los procesos para aumentar la eficiencia operativa.</a:t>
            </a:r>
          </a:p>
        </p:txBody>
      </p:sp>
      <p:grpSp>
        <p:nvGrpSpPr>
          <p:cNvPr id="84" name="Group 83">
            <a:extLst>
              <a:ext uri="{FF2B5EF4-FFF2-40B4-BE49-F238E27FC236}">
                <a16:creationId xmlns:a16="http://schemas.microsoft.com/office/drawing/2014/main" id="{B449EC3C-50A3-8358-2F02-8CB63AB4E8A1}"/>
              </a:ext>
            </a:extLst>
          </p:cNvPr>
          <p:cNvGrpSpPr/>
          <p:nvPr/>
        </p:nvGrpSpPr>
        <p:grpSpPr>
          <a:xfrm>
            <a:off x="5567776" y="1960140"/>
            <a:ext cx="4419788" cy="3851215"/>
            <a:chOff x="5335104" y="1603912"/>
            <a:chExt cx="4419788" cy="3851215"/>
          </a:xfrm>
        </p:grpSpPr>
        <p:sp>
          <p:nvSpPr>
            <p:cNvPr id="40" name="Flowchart: Connector 39">
              <a:extLst>
                <a:ext uri="{FF2B5EF4-FFF2-40B4-BE49-F238E27FC236}">
                  <a16:creationId xmlns:a16="http://schemas.microsoft.com/office/drawing/2014/main" id="{6CBAC947-2EC1-01F5-6479-CDA6CC9071A6}"/>
                </a:ext>
              </a:extLst>
            </p:cNvPr>
            <p:cNvSpPr/>
            <p:nvPr/>
          </p:nvSpPr>
          <p:spPr>
            <a:xfrm>
              <a:off x="6321294" y="2384053"/>
              <a:ext cx="2514600" cy="2304746"/>
            </a:xfrm>
            <a:prstGeom prst="flowChartConnector">
              <a:avLst/>
            </a:prstGeom>
            <a:solidFill>
              <a:srgbClr val="6E4494"/>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500" b="1" dirty="0">
                  <a:latin typeface="Century Gothic" panose="020B0502020202020204" pitchFamily="34" charset="0"/>
                </a:rPr>
                <a:t>Cada Institución deberá replantear su estrategia y operaciones partiendo de la interacción humana e IA</a:t>
              </a:r>
            </a:p>
          </p:txBody>
        </p:sp>
        <p:sp>
          <p:nvSpPr>
            <p:cNvPr id="44" name="Flowchart: Connector 43">
              <a:extLst>
                <a:ext uri="{FF2B5EF4-FFF2-40B4-BE49-F238E27FC236}">
                  <a16:creationId xmlns:a16="http://schemas.microsoft.com/office/drawing/2014/main" id="{9D85E78C-6390-25EF-CFC6-78C6A9D8415D}"/>
                </a:ext>
              </a:extLst>
            </p:cNvPr>
            <p:cNvSpPr/>
            <p:nvPr/>
          </p:nvSpPr>
          <p:spPr>
            <a:xfrm>
              <a:off x="6194292" y="2267170"/>
              <a:ext cx="2755900" cy="2540000"/>
            </a:xfrm>
            <a:prstGeom prst="flowChartConnector">
              <a:avLst/>
            </a:prstGeom>
            <a:noFill/>
            <a:ln w="1143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45" name="Flowchart: Connector 44">
              <a:extLst>
                <a:ext uri="{FF2B5EF4-FFF2-40B4-BE49-F238E27FC236}">
                  <a16:creationId xmlns:a16="http://schemas.microsoft.com/office/drawing/2014/main" id="{4BE5D91D-4CC5-FC33-B984-5868134C93B7}"/>
                </a:ext>
              </a:extLst>
            </p:cNvPr>
            <p:cNvSpPr/>
            <p:nvPr/>
          </p:nvSpPr>
          <p:spPr>
            <a:xfrm>
              <a:off x="5686800" y="1846975"/>
              <a:ext cx="3783587" cy="3373428"/>
            </a:xfrm>
            <a:prstGeom prst="flowChartConnector">
              <a:avLst/>
            </a:prstGeom>
            <a:noFill/>
            <a:ln w="114300">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46" name="Flowchart: Connector 45">
              <a:extLst>
                <a:ext uri="{FF2B5EF4-FFF2-40B4-BE49-F238E27FC236}">
                  <a16:creationId xmlns:a16="http://schemas.microsoft.com/office/drawing/2014/main" id="{6F23970B-3330-AB98-DFB7-4C0AB31A5D61}"/>
                </a:ext>
              </a:extLst>
            </p:cNvPr>
            <p:cNvSpPr/>
            <p:nvPr/>
          </p:nvSpPr>
          <p:spPr>
            <a:xfrm>
              <a:off x="5550250" y="1730970"/>
              <a:ext cx="4043982" cy="3612274"/>
            </a:xfrm>
            <a:prstGeom prst="flowChartConnector">
              <a:avLst/>
            </a:prstGeom>
            <a:noFill/>
            <a:ln w="114300">
              <a:solidFill>
                <a:srgbClr val="DCC5E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grpSp>
          <p:nvGrpSpPr>
            <p:cNvPr id="67" name="Group 66">
              <a:extLst>
                <a:ext uri="{FF2B5EF4-FFF2-40B4-BE49-F238E27FC236}">
                  <a16:creationId xmlns:a16="http://schemas.microsoft.com/office/drawing/2014/main" id="{F1E11F56-7B56-C054-2E4E-B8A01BBFB0AD}"/>
                </a:ext>
              </a:extLst>
            </p:cNvPr>
            <p:cNvGrpSpPr/>
            <p:nvPr/>
          </p:nvGrpSpPr>
          <p:grpSpPr>
            <a:xfrm>
              <a:off x="9108932" y="2613207"/>
              <a:ext cx="645960" cy="651346"/>
              <a:chOff x="5705524" y="1230411"/>
              <a:chExt cx="645960" cy="651346"/>
            </a:xfrm>
          </p:grpSpPr>
          <p:sp>
            <p:nvSpPr>
              <p:cNvPr id="64" name="Flowchart: Connector 63">
                <a:extLst>
                  <a:ext uri="{FF2B5EF4-FFF2-40B4-BE49-F238E27FC236}">
                    <a16:creationId xmlns:a16="http://schemas.microsoft.com/office/drawing/2014/main" id="{D8F3CB8B-9503-3D4C-7C91-0FD9C5D9DBF6}"/>
                  </a:ext>
                </a:extLst>
              </p:cNvPr>
              <p:cNvSpPr/>
              <p:nvPr/>
            </p:nvSpPr>
            <p:spPr>
              <a:xfrm>
                <a:off x="5705524" y="1230411"/>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3" name="Graphic 52" descr="Robot with solid fill">
                <a:extLst>
                  <a:ext uri="{FF2B5EF4-FFF2-40B4-BE49-F238E27FC236}">
                    <a16:creationId xmlns:a16="http://schemas.microsoft.com/office/drawing/2014/main" id="{E03DEF22-126E-2007-FFCC-DA55452727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74722" y="1291489"/>
                <a:ext cx="507563" cy="507563"/>
              </a:xfrm>
              <a:prstGeom prst="rect">
                <a:avLst/>
              </a:prstGeom>
            </p:spPr>
          </p:pic>
        </p:grpSp>
        <p:grpSp>
          <p:nvGrpSpPr>
            <p:cNvPr id="71" name="Group 70">
              <a:extLst>
                <a:ext uri="{FF2B5EF4-FFF2-40B4-BE49-F238E27FC236}">
                  <a16:creationId xmlns:a16="http://schemas.microsoft.com/office/drawing/2014/main" id="{65B143E7-D473-B993-B460-9B7CCBC0C90C}"/>
                </a:ext>
              </a:extLst>
            </p:cNvPr>
            <p:cNvGrpSpPr/>
            <p:nvPr/>
          </p:nvGrpSpPr>
          <p:grpSpPr>
            <a:xfrm>
              <a:off x="9047570" y="4037453"/>
              <a:ext cx="645960" cy="651346"/>
              <a:chOff x="4561324" y="2794920"/>
              <a:chExt cx="645960" cy="651346"/>
            </a:xfrm>
          </p:grpSpPr>
          <p:sp>
            <p:nvSpPr>
              <p:cNvPr id="66" name="Flowchart: Connector 65">
                <a:extLst>
                  <a:ext uri="{FF2B5EF4-FFF2-40B4-BE49-F238E27FC236}">
                    <a16:creationId xmlns:a16="http://schemas.microsoft.com/office/drawing/2014/main" id="{3E56D73B-9D9A-239F-CDFF-4A8C098242B7}"/>
                  </a:ext>
                </a:extLst>
              </p:cNvPr>
              <p:cNvSpPr/>
              <p:nvPr/>
            </p:nvSpPr>
            <p:spPr>
              <a:xfrm>
                <a:off x="4561324" y="2794920"/>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1" name="Graphic 50" descr="Gavel outline">
                <a:extLst>
                  <a:ext uri="{FF2B5EF4-FFF2-40B4-BE49-F238E27FC236}">
                    <a16:creationId xmlns:a16="http://schemas.microsoft.com/office/drawing/2014/main" id="{B9DA8DD4-95AF-2600-AC56-3BAC2589CC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0787" y="2829250"/>
                <a:ext cx="527020" cy="527020"/>
              </a:xfrm>
              <a:prstGeom prst="rect">
                <a:avLst/>
              </a:prstGeom>
            </p:spPr>
          </p:pic>
        </p:grpSp>
        <p:grpSp>
          <p:nvGrpSpPr>
            <p:cNvPr id="73" name="Group 72">
              <a:extLst>
                <a:ext uri="{FF2B5EF4-FFF2-40B4-BE49-F238E27FC236}">
                  <a16:creationId xmlns:a16="http://schemas.microsoft.com/office/drawing/2014/main" id="{7A272160-B40C-D9EA-DDB8-DAD77FF7FB73}"/>
                </a:ext>
              </a:extLst>
            </p:cNvPr>
            <p:cNvGrpSpPr/>
            <p:nvPr/>
          </p:nvGrpSpPr>
          <p:grpSpPr>
            <a:xfrm>
              <a:off x="8234989" y="1614336"/>
              <a:ext cx="645960" cy="651346"/>
              <a:chOff x="3950661" y="4085757"/>
              <a:chExt cx="645960" cy="651346"/>
            </a:xfrm>
          </p:grpSpPr>
          <p:sp>
            <p:nvSpPr>
              <p:cNvPr id="69" name="Flowchart: Connector 68">
                <a:extLst>
                  <a:ext uri="{FF2B5EF4-FFF2-40B4-BE49-F238E27FC236}">
                    <a16:creationId xmlns:a16="http://schemas.microsoft.com/office/drawing/2014/main" id="{D2CCDEB3-32CF-D208-BE98-E2AF6F1B4041}"/>
                  </a:ext>
                </a:extLst>
              </p:cNvPr>
              <p:cNvSpPr/>
              <p:nvPr/>
            </p:nvSpPr>
            <p:spPr>
              <a:xfrm>
                <a:off x="3950661" y="4085757"/>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5" name="Graphic 54" descr="Ecommerce outline">
                <a:extLst>
                  <a:ext uri="{FF2B5EF4-FFF2-40B4-BE49-F238E27FC236}">
                    <a16:creationId xmlns:a16="http://schemas.microsoft.com/office/drawing/2014/main" id="{E3FE215B-E79A-E031-D02A-BEA9C38F8A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66890" y="4207216"/>
                <a:ext cx="413502" cy="413502"/>
              </a:xfrm>
              <a:prstGeom prst="rect">
                <a:avLst/>
              </a:prstGeom>
            </p:spPr>
          </p:pic>
        </p:grpSp>
        <p:grpSp>
          <p:nvGrpSpPr>
            <p:cNvPr id="75" name="Group 74">
              <a:extLst>
                <a:ext uri="{FF2B5EF4-FFF2-40B4-BE49-F238E27FC236}">
                  <a16:creationId xmlns:a16="http://schemas.microsoft.com/office/drawing/2014/main" id="{A6D5A77B-2BEE-DBBE-AE9E-524C4AF5EEC1}"/>
                </a:ext>
              </a:extLst>
            </p:cNvPr>
            <p:cNvGrpSpPr/>
            <p:nvPr/>
          </p:nvGrpSpPr>
          <p:grpSpPr>
            <a:xfrm>
              <a:off x="6278357" y="4803781"/>
              <a:ext cx="645960" cy="651346"/>
              <a:chOff x="4173148" y="5159171"/>
              <a:chExt cx="645960" cy="651346"/>
            </a:xfrm>
          </p:grpSpPr>
          <p:sp>
            <p:nvSpPr>
              <p:cNvPr id="72" name="Flowchart: Connector 71">
                <a:extLst>
                  <a:ext uri="{FF2B5EF4-FFF2-40B4-BE49-F238E27FC236}">
                    <a16:creationId xmlns:a16="http://schemas.microsoft.com/office/drawing/2014/main" id="{B4CA5F83-26BE-F44B-7044-A45B94E75CB8}"/>
                  </a:ext>
                </a:extLst>
              </p:cNvPr>
              <p:cNvSpPr/>
              <p:nvPr/>
            </p:nvSpPr>
            <p:spPr>
              <a:xfrm>
                <a:off x="4173148" y="5159171"/>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7" name="Graphic 56" descr="Group of women with solid fill">
                <a:extLst>
                  <a:ext uri="{FF2B5EF4-FFF2-40B4-BE49-F238E27FC236}">
                    <a16:creationId xmlns:a16="http://schemas.microsoft.com/office/drawing/2014/main" id="{D20420C7-0A19-22CF-97DE-C587528E35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49379" y="5238095"/>
                <a:ext cx="493497" cy="493497"/>
              </a:xfrm>
              <a:prstGeom prst="rect">
                <a:avLst/>
              </a:prstGeom>
            </p:spPr>
          </p:pic>
        </p:grpSp>
        <p:grpSp>
          <p:nvGrpSpPr>
            <p:cNvPr id="78" name="Group 77">
              <a:extLst>
                <a:ext uri="{FF2B5EF4-FFF2-40B4-BE49-F238E27FC236}">
                  <a16:creationId xmlns:a16="http://schemas.microsoft.com/office/drawing/2014/main" id="{47B54470-654F-EBBF-C6CC-722AB125CB85}"/>
                </a:ext>
              </a:extLst>
            </p:cNvPr>
            <p:cNvGrpSpPr/>
            <p:nvPr/>
          </p:nvGrpSpPr>
          <p:grpSpPr>
            <a:xfrm>
              <a:off x="5412891" y="4016596"/>
              <a:ext cx="645960" cy="651346"/>
              <a:chOff x="5076804" y="5391167"/>
              <a:chExt cx="645960" cy="651346"/>
            </a:xfrm>
          </p:grpSpPr>
          <p:sp>
            <p:nvSpPr>
              <p:cNvPr id="74" name="Flowchart: Connector 73">
                <a:extLst>
                  <a:ext uri="{FF2B5EF4-FFF2-40B4-BE49-F238E27FC236}">
                    <a16:creationId xmlns:a16="http://schemas.microsoft.com/office/drawing/2014/main" id="{1C210102-FD8B-AB9D-B34D-53CDFF3687E2}"/>
                  </a:ext>
                </a:extLst>
              </p:cNvPr>
              <p:cNvSpPr/>
              <p:nvPr/>
            </p:nvSpPr>
            <p:spPr>
              <a:xfrm>
                <a:off x="5076804" y="5391167"/>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9" name="Graphic 58" descr="Bull with solid fill">
                <a:extLst>
                  <a:ext uri="{FF2B5EF4-FFF2-40B4-BE49-F238E27FC236}">
                    <a16:creationId xmlns:a16="http://schemas.microsoft.com/office/drawing/2014/main" id="{38524ADE-A1DE-D15B-68A0-17BAD17A02A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71999" y="5484925"/>
                <a:ext cx="488778" cy="488778"/>
              </a:xfrm>
              <a:prstGeom prst="rect">
                <a:avLst/>
              </a:prstGeom>
            </p:spPr>
          </p:pic>
        </p:grpSp>
        <p:grpSp>
          <p:nvGrpSpPr>
            <p:cNvPr id="79" name="Group 78">
              <a:extLst>
                <a:ext uri="{FF2B5EF4-FFF2-40B4-BE49-F238E27FC236}">
                  <a16:creationId xmlns:a16="http://schemas.microsoft.com/office/drawing/2014/main" id="{B2EA5F12-5E62-4C66-694E-0F620E0027AD}"/>
                </a:ext>
              </a:extLst>
            </p:cNvPr>
            <p:cNvGrpSpPr/>
            <p:nvPr/>
          </p:nvGrpSpPr>
          <p:grpSpPr>
            <a:xfrm>
              <a:off x="6194292" y="1603912"/>
              <a:ext cx="645960" cy="651346"/>
              <a:chOff x="6428994" y="5782725"/>
              <a:chExt cx="645960" cy="651346"/>
            </a:xfrm>
          </p:grpSpPr>
          <p:sp>
            <p:nvSpPr>
              <p:cNvPr id="76" name="Flowchart: Connector 75">
                <a:extLst>
                  <a:ext uri="{FF2B5EF4-FFF2-40B4-BE49-F238E27FC236}">
                    <a16:creationId xmlns:a16="http://schemas.microsoft.com/office/drawing/2014/main" id="{656B7E2A-C7E3-26AE-FE6F-5C27801658D5}"/>
                  </a:ext>
                </a:extLst>
              </p:cNvPr>
              <p:cNvSpPr/>
              <p:nvPr/>
            </p:nvSpPr>
            <p:spPr>
              <a:xfrm>
                <a:off x="6428994" y="5782725"/>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63" name="Graphic 62" descr="Circles with arrows with solid fill">
                <a:extLst>
                  <a:ext uri="{FF2B5EF4-FFF2-40B4-BE49-F238E27FC236}">
                    <a16:creationId xmlns:a16="http://schemas.microsoft.com/office/drawing/2014/main" id="{3F5EB944-34A8-F5CE-BD4A-8106F60BC6C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79016" y="5835440"/>
                <a:ext cx="545916" cy="545916"/>
              </a:xfrm>
              <a:prstGeom prst="rect">
                <a:avLst/>
              </a:prstGeom>
            </p:spPr>
          </p:pic>
        </p:grpSp>
        <p:grpSp>
          <p:nvGrpSpPr>
            <p:cNvPr id="81" name="Group 80">
              <a:extLst>
                <a:ext uri="{FF2B5EF4-FFF2-40B4-BE49-F238E27FC236}">
                  <a16:creationId xmlns:a16="http://schemas.microsoft.com/office/drawing/2014/main" id="{FEB7D67D-38CF-3396-6588-2C01461AB21C}"/>
                </a:ext>
              </a:extLst>
            </p:cNvPr>
            <p:cNvGrpSpPr/>
            <p:nvPr/>
          </p:nvGrpSpPr>
          <p:grpSpPr>
            <a:xfrm>
              <a:off x="5335104" y="2613207"/>
              <a:ext cx="651346" cy="654775"/>
              <a:chOff x="9185726" y="5014142"/>
              <a:chExt cx="651346" cy="654775"/>
            </a:xfrm>
          </p:grpSpPr>
          <p:sp>
            <p:nvSpPr>
              <p:cNvPr id="77" name="Flowchart: Connector 76">
                <a:extLst>
                  <a:ext uri="{FF2B5EF4-FFF2-40B4-BE49-F238E27FC236}">
                    <a16:creationId xmlns:a16="http://schemas.microsoft.com/office/drawing/2014/main" id="{624D78B1-1DAC-493A-29AF-8B2E3DE2E4DE}"/>
                  </a:ext>
                </a:extLst>
              </p:cNvPr>
              <p:cNvSpPr/>
              <p:nvPr/>
            </p:nvSpPr>
            <p:spPr>
              <a:xfrm>
                <a:off x="9191112" y="5017571"/>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61" name="Graphic 60" descr="Medical with solid fill">
                <a:extLst>
                  <a:ext uri="{FF2B5EF4-FFF2-40B4-BE49-F238E27FC236}">
                    <a16:creationId xmlns:a16="http://schemas.microsoft.com/office/drawing/2014/main" id="{52C5099F-8A06-93F0-FF56-3E13268DFEE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185726" y="5014142"/>
                <a:ext cx="651346" cy="651346"/>
              </a:xfrm>
              <a:prstGeom prst="rect">
                <a:avLst/>
              </a:prstGeom>
            </p:spPr>
          </p:pic>
        </p:grpSp>
        <p:grpSp>
          <p:nvGrpSpPr>
            <p:cNvPr id="82" name="Group 81">
              <a:extLst>
                <a:ext uri="{FF2B5EF4-FFF2-40B4-BE49-F238E27FC236}">
                  <a16:creationId xmlns:a16="http://schemas.microsoft.com/office/drawing/2014/main" id="{4C10C260-F089-65E9-047D-CD473DF4FCB4}"/>
                </a:ext>
              </a:extLst>
            </p:cNvPr>
            <p:cNvGrpSpPr/>
            <p:nvPr/>
          </p:nvGrpSpPr>
          <p:grpSpPr>
            <a:xfrm>
              <a:off x="8226413" y="4803078"/>
              <a:ext cx="645960" cy="651346"/>
              <a:chOff x="10116946" y="4204157"/>
              <a:chExt cx="645960" cy="651346"/>
            </a:xfrm>
          </p:grpSpPr>
          <p:sp>
            <p:nvSpPr>
              <p:cNvPr id="80" name="Flowchart: Connector 79">
                <a:extLst>
                  <a:ext uri="{FF2B5EF4-FFF2-40B4-BE49-F238E27FC236}">
                    <a16:creationId xmlns:a16="http://schemas.microsoft.com/office/drawing/2014/main" id="{89F31590-24F3-4837-3FF2-BDC8BC777176}"/>
                  </a:ext>
                </a:extLst>
              </p:cNvPr>
              <p:cNvSpPr/>
              <p:nvPr/>
            </p:nvSpPr>
            <p:spPr>
              <a:xfrm>
                <a:off x="10116946" y="4204157"/>
                <a:ext cx="645960" cy="651346"/>
              </a:xfrm>
              <a:prstGeom prst="flowChartConnector">
                <a:avLst/>
              </a:prstGeom>
              <a:solidFill>
                <a:srgbClr val="F4F1F6"/>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49" name="Graphic 48" descr="Research with solid fill">
                <a:extLst>
                  <a:ext uri="{FF2B5EF4-FFF2-40B4-BE49-F238E27FC236}">
                    <a16:creationId xmlns:a16="http://schemas.microsoft.com/office/drawing/2014/main" id="{D0484B24-9061-FE69-C7D0-02928CECABE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178505" y="4237904"/>
                <a:ext cx="522842" cy="522842"/>
              </a:xfrm>
              <a:prstGeom prst="rect">
                <a:avLst/>
              </a:prstGeom>
            </p:spPr>
          </p:pic>
        </p:grpSp>
      </p:grpSp>
      <p:sp>
        <p:nvSpPr>
          <p:cNvPr id="83" name="TextBox 82">
            <a:extLst>
              <a:ext uri="{FF2B5EF4-FFF2-40B4-BE49-F238E27FC236}">
                <a16:creationId xmlns:a16="http://schemas.microsoft.com/office/drawing/2014/main" id="{AD831D19-5AC2-8396-3833-3FD435514776}"/>
              </a:ext>
            </a:extLst>
          </p:cNvPr>
          <p:cNvSpPr txBox="1"/>
          <p:nvPr/>
        </p:nvSpPr>
        <p:spPr>
          <a:xfrm>
            <a:off x="3589841" y="2714457"/>
            <a:ext cx="1798484" cy="1017202"/>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Atención médica</a:t>
            </a:r>
            <a:endParaRPr kumimoji="0" lang="es-MX" sz="1200" b="1" i="0" u="none" strike="noStrike" kern="0" cap="none" spc="0" normalizeH="0" baseline="0" noProof="0" dirty="0">
              <a:ln>
                <a:noFill/>
              </a:ln>
              <a:effectLst/>
              <a:uLnTx/>
              <a:uFillTx/>
              <a:latin typeface="Century Gothic" panose="020B0502020202020204" pitchFamily="34" charset="0"/>
            </a:endParaRP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kumimoji="0" lang="es-MX" sz="1200" i="0" u="none" strike="noStrike" kern="0" cap="none" spc="0" normalizeH="0" baseline="0" noProof="0" dirty="0">
                <a:ln>
                  <a:noFill/>
                </a:ln>
                <a:effectLst/>
                <a:uLnTx/>
                <a:uFillTx/>
                <a:latin typeface="Century Gothic" panose="020B0502020202020204" pitchFamily="34" charset="0"/>
              </a:rPr>
              <a:t>Detectar patrones y posibles enfermedades, proporcionar atención personalizada usando asistentes virtuales.</a:t>
            </a:r>
          </a:p>
        </p:txBody>
      </p:sp>
      <p:sp>
        <p:nvSpPr>
          <p:cNvPr id="85" name="TextBox 84">
            <a:extLst>
              <a:ext uri="{FF2B5EF4-FFF2-40B4-BE49-F238E27FC236}">
                <a16:creationId xmlns:a16="http://schemas.microsoft.com/office/drawing/2014/main" id="{878AC203-6ED6-BD17-5391-DF1DF321FFF2}"/>
              </a:ext>
            </a:extLst>
          </p:cNvPr>
          <p:cNvSpPr txBox="1"/>
          <p:nvPr/>
        </p:nvSpPr>
        <p:spPr>
          <a:xfrm>
            <a:off x="3601860" y="3886451"/>
            <a:ext cx="1793729" cy="1174168"/>
          </a:xfrm>
          <a:prstGeom prst="rect">
            <a:avLst/>
          </a:prstGeom>
          <a:noFill/>
        </p:spPr>
        <p:txBody>
          <a:bodyPr wrap="square" lIns="0" tIns="36576" rIns="0" bIns="0" rtlCol="0">
            <a:spAutoFit/>
          </a:bodyPr>
          <a:lstStyle/>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Finanzas</a:t>
            </a: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kumimoji="0" lang="es-MX" sz="1200" i="0" u="none" strike="noStrike" kern="0" cap="none" spc="0" normalizeH="0" baseline="0" noProof="0" dirty="0">
                <a:ln>
                  <a:noFill/>
                </a:ln>
                <a:effectLst/>
                <a:uLnTx/>
                <a:uFillTx/>
                <a:latin typeface="Century Gothic" panose="020B0502020202020204" pitchFamily="34" charset="0"/>
              </a:rPr>
              <a:t>Detección de fraudes en transacciones financieras, optimización de los sistemas bancarios utilizando </a:t>
            </a:r>
            <a:r>
              <a:rPr kumimoji="0" lang="es-MX" sz="1200" i="0" u="none" strike="noStrike" kern="0" cap="none" spc="0" normalizeH="0" baseline="0" noProof="0" dirty="0" err="1">
                <a:ln>
                  <a:noFill/>
                </a:ln>
                <a:effectLst/>
                <a:uLnTx/>
                <a:uFillTx/>
                <a:latin typeface="Century Gothic" panose="020B0502020202020204" pitchFamily="34" charset="0"/>
              </a:rPr>
              <a:t>chatbots</a:t>
            </a:r>
            <a:r>
              <a:rPr kumimoji="0" lang="es-MX" sz="1200" i="0" u="none" strike="noStrike" kern="0" cap="none" spc="0" normalizeH="0" baseline="0" noProof="0" dirty="0">
                <a:ln>
                  <a:noFill/>
                </a:ln>
                <a:effectLst/>
                <a:uLnTx/>
                <a:uFillTx/>
                <a:latin typeface="Century Gothic" panose="020B0502020202020204" pitchFamily="34" charset="0"/>
              </a:rPr>
              <a:t>, etc.</a:t>
            </a:r>
          </a:p>
        </p:txBody>
      </p:sp>
      <p:sp>
        <p:nvSpPr>
          <p:cNvPr id="86" name="TextBox 85">
            <a:extLst>
              <a:ext uri="{FF2B5EF4-FFF2-40B4-BE49-F238E27FC236}">
                <a16:creationId xmlns:a16="http://schemas.microsoft.com/office/drawing/2014/main" id="{0FED5E95-6929-40D1-16EA-B09258CDBFFC}"/>
              </a:ext>
            </a:extLst>
          </p:cNvPr>
          <p:cNvSpPr txBox="1"/>
          <p:nvPr/>
        </p:nvSpPr>
        <p:spPr>
          <a:xfrm>
            <a:off x="3614560" y="5224271"/>
            <a:ext cx="1836468" cy="1174168"/>
          </a:xfrm>
          <a:prstGeom prst="rect">
            <a:avLst/>
          </a:prstGeom>
          <a:noFill/>
        </p:spPr>
        <p:txBody>
          <a:bodyPr wrap="square" lIns="0" tIns="36576" rIns="0" bIns="0" rtlCol="0">
            <a:spAutoFit/>
          </a:bodyPr>
          <a:lstStyle/>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Recursos Humanos</a:t>
            </a: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kumimoji="0" lang="es-MX" sz="1200" i="0" u="none" strike="noStrike" kern="0" cap="none" spc="0" normalizeH="0" baseline="0" noProof="0" dirty="0">
                <a:ln>
                  <a:noFill/>
                </a:ln>
                <a:effectLst/>
                <a:uLnTx/>
                <a:uFillTx/>
                <a:latin typeface="Century Gothic" panose="020B0502020202020204" pitchFamily="34" charset="0"/>
              </a:rPr>
              <a:t>Empoderar a recursos humanos con herramientas para la identificación y selección de candidatos.</a:t>
            </a:r>
          </a:p>
        </p:txBody>
      </p:sp>
      <p:sp>
        <p:nvSpPr>
          <p:cNvPr id="87" name="TextBox 86">
            <a:extLst>
              <a:ext uri="{FF2B5EF4-FFF2-40B4-BE49-F238E27FC236}">
                <a16:creationId xmlns:a16="http://schemas.microsoft.com/office/drawing/2014/main" id="{5F440EC4-A810-2EE8-3DAD-5D8C7FD785CD}"/>
              </a:ext>
            </a:extLst>
          </p:cNvPr>
          <p:cNvSpPr txBox="1"/>
          <p:nvPr/>
        </p:nvSpPr>
        <p:spPr>
          <a:xfrm>
            <a:off x="10133365" y="1620942"/>
            <a:ext cx="1660494" cy="86023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Marketing y ventas </a:t>
            </a:r>
            <a:endParaRPr kumimoji="0" lang="es-MX" sz="1200" b="1" i="0" u="none" strike="noStrike" kern="0" cap="none" spc="0" normalizeH="0" baseline="0" noProof="0" dirty="0">
              <a:ln>
                <a:noFill/>
              </a:ln>
              <a:effectLst/>
              <a:uLnTx/>
              <a:uFillTx/>
              <a:latin typeface="Century Gothic" panose="020B0502020202020204" pitchFamily="34" charset="0"/>
            </a:endParaRP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kern="0" dirty="0">
                <a:latin typeface="Century Gothic" panose="020B0502020202020204" pitchFamily="34" charset="0"/>
              </a:rPr>
              <a:t>Analizar tendencias emergentes del mercado y  clientes potenciales</a:t>
            </a:r>
            <a:r>
              <a:rPr kumimoji="0" lang="es-MX" sz="1200" i="0" u="none" strike="noStrike" kern="0" cap="none" spc="0" normalizeH="0" baseline="0" noProof="0" dirty="0">
                <a:ln>
                  <a:noFill/>
                </a:ln>
                <a:effectLst/>
                <a:uLnTx/>
                <a:uFillTx/>
                <a:latin typeface="Century Gothic" panose="020B0502020202020204" pitchFamily="34" charset="0"/>
              </a:rPr>
              <a:t>.</a:t>
            </a:r>
          </a:p>
        </p:txBody>
      </p:sp>
      <p:sp>
        <p:nvSpPr>
          <p:cNvPr id="88" name="TextBox 87">
            <a:extLst>
              <a:ext uri="{FF2B5EF4-FFF2-40B4-BE49-F238E27FC236}">
                <a16:creationId xmlns:a16="http://schemas.microsoft.com/office/drawing/2014/main" id="{60D72990-243A-6774-FDA5-3D5CEEB02956}"/>
              </a:ext>
            </a:extLst>
          </p:cNvPr>
          <p:cNvSpPr txBox="1"/>
          <p:nvPr/>
        </p:nvSpPr>
        <p:spPr>
          <a:xfrm>
            <a:off x="10104992" y="2733187"/>
            <a:ext cx="1798484" cy="860235"/>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Tecnología</a:t>
            </a:r>
          </a:p>
          <a:p>
            <a:pPr marL="0" marR="0" lvl="0" indent="0" defTabSz="914400" eaLnBrk="1" fontAlgn="auto" latinLnBrk="0" hangingPunct="1">
              <a:lnSpc>
                <a:spcPct val="85000"/>
              </a:lnSpc>
              <a:spcBef>
                <a:spcPts val="0"/>
              </a:spcBef>
              <a:spcAft>
                <a:spcPts val="300"/>
              </a:spcAft>
              <a:buClr>
                <a:srgbClr val="27ACAA"/>
              </a:buClr>
              <a:buSzPct val="70000"/>
              <a:buFontTx/>
              <a:buNone/>
              <a:tabLst/>
              <a:defRPr/>
            </a:pPr>
            <a:r>
              <a:rPr lang="es-MX" sz="1200" kern="0" dirty="0">
                <a:latin typeface="Century Gothic" panose="020B0502020202020204" pitchFamily="34" charset="0"/>
              </a:rPr>
              <a:t>Analizar sistemas y </a:t>
            </a:r>
            <a:r>
              <a:rPr kumimoji="0" lang="es-MX" sz="1200" i="0" u="none" strike="noStrike" kern="0" cap="none" spc="0" normalizeH="0" baseline="0" noProof="0" dirty="0">
                <a:ln>
                  <a:noFill/>
                </a:ln>
                <a:effectLst/>
                <a:uLnTx/>
                <a:uFillTx/>
                <a:latin typeface="Century Gothic" panose="020B0502020202020204" pitchFamily="34" charset="0"/>
              </a:rPr>
              <a:t>código en busca de vulnerabilidades potenciales.</a:t>
            </a:r>
          </a:p>
        </p:txBody>
      </p:sp>
      <p:sp>
        <p:nvSpPr>
          <p:cNvPr id="89" name="TextBox 88">
            <a:extLst>
              <a:ext uri="{FF2B5EF4-FFF2-40B4-BE49-F238E27FC236}">
                <a16:creationId xmlns:a16="http://schemas.microsoft.com/office/drawing/2014/main" id="{0BC832EB-7FC5-D2B1-386D-72352D8A3D2B}"/>
              </a:ext>
            </a:extLst>
          </p:cNvPr>
          <p:cNvSpPr txBox="1"/>
          <p:nvPr/>
        </p:nvSpPr>
        <p:spPr>
          <a:xfrm>
            <a:off x="10117011" y="3905181"/>
            <a:ext cx="1793729" cy="703269"/>
          </a:xfrm>
          <a:prstGeom prst="rect">
            <a:avLst/>
          </a:prstGeom>
          <a:noFill/>
        </p:spPr>
        <p:txBody>
          <a:bodyPr wrap="square" lIns="0" tIns="36576" rIns="0" bIns="0" rtlCol="0">
            <a:spAutoFit/>
          </a:bodyPr>
          <a:lstStyle/>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Legal y Cumplimiento </a:t>
            </a: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kern="0" dirty="0">
                <a:latin typeface="Century Gothic" panose="020B0502020202020204" pitchFamily="34" charset="0"/>
              </a:rPr>
              <a:t>A</a:t>
            </a:r>
            <a:r>
              <a:rPr kumimoji="0" lang="es-MX" sz="1200" i="0" u="none" strike="noStrike" kern="0" cap="none" spc="0" normalizeH="0" baseline="0" noProof="0" dirty="0" err="1">
                <a:ln>
                  <a:noFill/>
                </a:ln>
                <a:effectLst/>
                <a:uLnTx/>
                <a:uFillTx/>
                <a:latin typeface="Century Gothic" panose="020B0502020202020204" pitchFamily="34" charset="0"/>
              </a:rPr>
              <a:t>utomatizar</a:t>
            </a:r>
            <a:r>
              <a:rPr kumimoji="0" lang="es-MX" sz="1200" i="0" u="none" strike="noStrike" kern="0" cap="none" spc="0" normalizeH="0" baseline="0" noProof="0" dirty="0">
                <a:ln>
                  <a:noFill/>
                </a:ln>
                <a:effectLst/>
                <a:uLnTx/>
                <a:uFillTx/>
                <a:latin typeface="Century Gothic" panose="020B0502020202020204" pitchFamily="34" charset="0"/>
              </a:rPr>
              <a:t> procesos para detectar riesgos legales. </a:t>
            </a:r>
          </a:p>
        </p:txBody>
      </p:sp>
      <p:sp>
        <p:nvSpPr>
          <p:cNvPr id="90" name="TextBox 89">
            <a:extLst>
              <a:ext uri="{FF2B5EF4-FFF2-40B4-BE49-F238E27FC236}">
                <a16:creationId xmlns:a16="http://schemas.microsoft.com/office/drawing/2014/main" id="{01F7D101-F211-AA11-9719-CD1B26CDF62E}"/>
              </a:ext>
            </a:extLst>
          </p:cNvPr>
          <p:cNvSpPr txBox="1"/>
          <p:nvPr/>
        </p:nvSpPr>
        <p:spPr>
          <a:xfrm>
            <a:off x="10117011" y="4834643"/>
            <a:ext cx="1836468" cy="1017202"/>
          </a:xfrm>
          <a:prstGeom prst="rect">
            <a:avLst/>
          </a:prstGeom>
          <a:noFill/>
        </p:spPr>
        <p:txBody>
          <a:bodyPr wrap="square" lIns="0" tIns="36576" rIns="0" bIns="0" rtlCol="0">
            <a:spAutoFit/>
          </a:bodyPr>
          <a:lstStyle/>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lang="es-MX" sz="1200" b="1" kern="0" dirty="0">
                <a:latin typeface="Century Gothic" panose="020B0502020202020204" pitchFamily="34" charset="0"/>
              </a:rPr>
              <a:t>Investigación</a:t>
            </a:r>
          </a:p>
          <a:p>
            <a:pPr marL="0" marR="0" lvl="0" indent="0" algn="just" defTabSz="914400" eaLnBrk="1" fontAlgn="auto" latinLnBrk="0" hangingPunct="1">
              <a:lnSpc>
                <a:spcPct val="85000"/>
              </a:lnSpc>
              <a:spcBef>
                <a:spcPts val="0"/>
              </a:spcBef>
              <a:spcAft>
                <a:spcPts val="300"/>
              </a:spcAft>
              <a:buClr>
                <a:srgbClr val="27ACAA"/>
              </a:buClr>
              <a:buSzPct val="70000"/>
              <a:buFontTx/>
              <a:buNone/>
              <a:tabLst/>
              <a:defRPr/>
            </a:pPr>
            <a:r>
              <a:rPr kumimoji="0" lang="es-MX" sz="1200" i="0" u="none" strike="noStrike" kern="0" cap="none" spc="0" normalizeH="0" baseline="0" noProof="0" dirty="0">
                <a:ln>
                  <a:noFill/>
                </a:ln>
                <a:effectLst/>
                <a:uLnTx/>
                <a:uFillTx/>
                <a:latin typeface="Century Gothic" panose="020B0502020202020204" pitchFamily="34" charset="0"/>
              </a:rPr>
              <a:t>Identificar, analizar y resumir rápidamente información clave de diversas fuentes de datos.</a:t>
            </a:r>
          </a:p>
        </p:txBody>
      </p:sp>
    </p:spTree>
    <p:extLst>
      <p:ext uri="{BB962C8B-B14F-4D97-AF65-F5344CB8AC3E}">
        <p14:creationId xmlns:p14="http://schemas.microsoft.com/office/powerpoint/2010/main" val="1451122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9DBA0-326D-4D45-86FD-7425B286562D}"/>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E51E8C90-1AA9-985F-D32B-F37C751421DC}"/>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EAB4A4C0-6050-5A1A-E62B-CFABCD787487}"/>
              </a:ext>
            </a:extLst>
          </p:cNvPr>
          <p:cNvPicPr>
            <a:picLocks noChangeAspect="1"/>
          </p:cNvPicPr>
          <p:nvPr/>
        </p:nvPicPr>
        <p:blipFill>
          <a:blip r:embed="rId3"/>
          <a:stretch>
            <a:fillRect/>
          </a:stretch>
        </p:blipFill>
        <p:spPr>
          <a:xfrm>
            <a:off x="-175088" y="1272045"/>
            <a:ext cx="987001" cy="976273"/>
          </a:xfrm>
          <a:prstGeom prst="rect">
            <a:avLst/>
          </a:prstGeom>
        </p:spPr>
      </p:pic>
      <p:sp>
        <p:nvSpPr>
          <p:cNvPr id="23" name="CuadroTexto 22">
            <a:extLst>
              <a:ext uri="{FF2B5EF4-FFF2-40B4-BE49-F238E27FC236}">
                <a16:creationId xmlns:a16="http://schemas.microsoft.com/office/drawing/2014/main" id="{C7DDCCF8-2492-F96F-C85F-A7A2AF6F879B}"/>
              </a:ext>
            </a:extLst>
          </p:cNvPr>
          <p:cNvSpPr txBox="1"/>
          <p:nvPr/>
        </p:nvSpPr>
        <p:spPr>
          <a:xfrm>
            <a:off x="644832" y="301423"/>
            <a:ext cx="7252984"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Inteligencia Artificial </a:t>
            </a:r>
          </a:p>
        </p:txBody>
      </p:sp>
      <p:sp>
        <p:nvSpPr>
          <p:cNvPr id="27" name="CuadroTexto 1">
            <a:extLst>
              <a:ext uri="{FF2B5EF4-FFF2-40B4-BE49-F238E27FC236}">
                <a16:creationId xmlns:a16="http://schemas.microsoft.com/office/drawing/2014/main" id="{26628C0B-C42F-55AA-E912-BE1E0440EB39}"/>
              </a:ext>
            </a:extLst>
          </p:cNvPr>
          <p:cNvSpPr txBox="1"/>
          <p:nvPr/>
        </p:nvSpPr>
        <p:spPr>
          <a:xfrm>
            <a:off x="986909" y="1325956"/>
            <a:ext cx="10266706" cy="565732"/>
          </a:xfrm>
          <a:prstGeom prst="rect">
            <a:avLst/>
          </a:prstGeom>
          <a:noFill/>
        </p:spPr>
        <p:txBody>
          <a:bodyPr wrap="square" rtlCol="0">
            <a:spAutoFit/>
          </a:bodyPr>
          <a:lstStyle/>
          <a:p>
            <a:pPr>
              <a:lnSpc>
                <a:spcPct val="115000"/>
              </a:lnSpc>
              <a:spcAft>
                <a:spcPts val="800"/>
              </a:spcAft>
            </a:pPr>
            <a:r>
              <a:rPr lang="es-MX" sz="1400" kern="100" dirty="0">
                <a:latin typeface="Century Gothic" panose="020B0502020202020204" pitchFamily="34" charset="0"/>
                <a:ea typeface="Tahoma" panose="020B0604030504040204" pitchFamily="34" charset="0"/>
                <a:cs typeface="Tahoma" panose="020B0604030504040204" pitchFamily="34" charset="0"/>
              </a:rPr>
              <a:t>El uso de la Inteligencia Artificial Generativa contempla  tanto oportunidad como riesgos que las Instituciones deben considerar y evaluar</a:t>
            </a:r>
            <a:endParaRPr lang="es-ES" sz="1400" kern="100" dirty="0">
              <a:latin typeface="Century Gothic" panose="020B0502020202020204" pitchFamily="34" charset="0"/>
              <a:ea typeface="Tahoma" panose="020B0604030504040204" pitchFamily="34" charset="0"/>
              <a:cs typeface="Tahoma" panose="020B0604030504040204" pitchFamily="34" charset="0"/>
            </a:endParaRPr>
          </a:p>
        </p:txBody>
      </p:sp>
      <p:graphicFrame>
        <p:nvGraphicFramePr>
          <p:cNvPr id="28" name="Diagram 27">
            <a:extLst>
              <a:ext uri="{FF2B5EF4-FFF2-40B4-BE49-F238E27FC236}">
                <a16:creationId xmlns:a16="http://schemas.microsoft.com/office/drawing/2014/main" id="{DAC2E754-6510-EF2D-FA34-914B71DC986E}"/>
              </a:ext>
            </a:extLst>
          </p:cNvPr>
          <p:cNvGraphicFramePr/>
          <p:nvPr>
            <p:extLst>
              <p:ext uri="{D42A27DB-BD31-4B8C-83A1-F6EECF244321}">
                <p14:modId xmlns:p14="http://schemas.microsoft.com/office/powerpoint/2010/main" val="441739775"/>
              </p:ext>
            </p:extLst>
          </p:nvPr>
        </p:nvGraphicFramePr>
        <p:xfrm>
          <a:off x="2425700" y="1424677"/>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Graphic 28" descr="Head with gears outline">
            <a:extLst>
              <a:ext uri="{FF2B5EF4-FFF2-40B4-BE49-F238E27FC236}">
                <a16:creationId xmlns:a16="http://schemas.microsoft.com/office/drawing/2014/main" id="{B78FE166-6ECB-96C1-765B-244E475649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76250" y="2743200"/>
            <a:ext cx="411479" cy="411479"/>
          </a:xfrm>
          <a:prstGeom prst="rect">
            <a:avLst/>
          </a:prstGeom>
        </p:spPr>
      </p:pic>
      <p:grpSp>
        <p:nvGrpSpPr>
          <p:cNvPr id="30" name="Group 29">
            <a:extLst>
              <a:ext uri="{FF2B5EF4-FFF2-40B4-BE49-F238E27FC236}">
                <a16:creationId xmlns:a16="http://schemas.microsoft.com/office/drawing/2014/main" id="{95D67673-963E-44D9-4F4A-41E4B1AB5EE5}"/>
              </a:ext>
            </a:extLst>
          </p:cNvPr>
          <p:cNvGrpSpPr/>
          <p:nvPr/>
        </p:nvGrpSpPr>
        <p:grpSpPr>
          <a:xfrm>
            <a:off x="1027812" y="2574765"/>
            <a:ext cx="3145317" cy="1944592"/>
            <a:chOff x="388310" y="2065144"/>
            <a:chExt cx="3145317" cy="1944592"/>
          </a:xfrm>
        </p:grpSpPr>
        <p:sp>
          <p:nvSpPr>
            <p:cNvPr id="31" name="TextBox 30">
              <a:extLst>
                <a:ext uri="{FF2B5EF4-FFF2-40B4-BE49-F238E27FC236}">
                  <a16:creationId xmlns:a16="http://schemas.microsoft.com/office/drawing/2014/main" id="{AD0A54C9-06F9-4953-FACE-6FD10C3B2BA1}"/>
                </a:ext>
              </a:extLst>
            </p:cNvPr>
            <p:cNvSpPr txBox="1"/>
            <p:nvPr/>
          </p:nvSpPr>
          <p:spPr>
            <a:xfrm>
              <a:off x="388310" y="2259492"/>
              <a:ext cx="3145317" cy="1750244"/>
            </a:xfrm>
            <a:prstGeom prst="rect">
              <a:avLst/>
            </a:prstGeom>
            <a:noFill/>
          </p:spPr>
          <p:txBody>
            <a:bodyPr wrap="square" lIns="0" tIns="36576" rIns="0" bIns="0" rtlCol="0" anchor="t">
              <a:noAutofit/>
            </a:bodyPr>
            <a:lstStyle/>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Transparencia ambigua en los sistemas de IA de terceros</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Monitoreo inadecuado de sistemas o aplicativos con IA</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Diseño de modelo deficiente que no cumpla con estándares éticos</a:t>
              </a:r>
              <a:endParaRPr lang="en-US" sz="1000" dirty="0">
                <a:solidFill>
                  <a:srgbClr val="5F2364"/>
                </a:solidFill>
                <a:latin typeface="Century Gothic" panose="020B0502020202020204" pitchFamily="34" charset="0"/>
              </a:endParaRPr>
            </a:p>
          </p:txBody>
        </p:sp>
        <p:sp>
          <p:nvSpPr>
            <p:cNvPr id="33" name="TextBox 32">
              <a:extLst>
                <a:ext uri="{FF2B5EF4-FFF2-40B4-BE49-F238E27FC236}">
                  <a16:creationId xmlns:a16="http://schemas.microsoft.com/office/drawing/2014/main" id="{C3C145FC-83CA-201E-C3D7-DF295E794A86}"/>
                </a:ext>
              </a:extLst>
            </p:cNvPr>
            <p:cNvSpPr txBox="1"/>
            <p:nvPr/>
          </p:nvSpPr>
          <p:spPr>
            <a:xfrm>
              <a:off x="388310" y="2065144"/>
              <a:ext cx="1548191" cy="173026"/>
            </a:xfrm>
            <a:prstGeom prst="rect">
              <a:avLst/>
            </a:prstGeom>
            <a:noFill/>
          </p:spPr>
          <p:txBody>
            <a:bodyPr wrap="square" lIns="0" tIns="36576" rIns="0" bIns="0" rtlCol="0" anchor="t">
              <a:noAutofit/>
            </a:bodyPr>
            <a:lstStyle/>
            <a:p>
              <a:pPr algn="just">
                <a:lnSpc>
                  <a:spcPct val="85000"/>
                </a:lnSpc>
                <a:spcAft>
                  <a:spcPts val="600"/>
                </a:spcAft>
                <a:buClr>
                  <a:srgbClr val="FFE600"/>
                </a:buClr>
                <a:buSzPct val="80000"/>
              </a:pPr>
              <a:r>
                <a:rPr lang="es-MX" sz="1200" b="1" dirty="0">
                  <a:solidFill>
                    <a:srgbClr val="5F2364"/>
                  </a:solidFill>
                  <a:latin typeface="Century Gothic" panose="020B0502020202020204" pitchFamily="34" charset="0"/>
                </a:rPr>
                <a:t>Riesgos de Diseño</a:t>
              </a:r>
              <a:endParaRPr lang="en-US" sz="1200" b="1" dirty="0">
                <a:solidFill>
                  <a:srgbClr val="5F2364"/>
                </a:solidFill>
                <a:latin typeface="Century Gothic" panose="020B0502020202020204" pitchFamily="34" charset="0"/>
              </a:endParaRPr>
            </a:p>
          </p:txBody>
        </p:sp>
      </p:grpSp>
      <p:grpSp>
        <p:nvGrpSpPr>
          <p:cNvPr id="34" name="Group 33">
            <a:extLst>
              <a:ext uri="{FF2B5EF4-FFF2-40B4-BE49-F238E27FC236}">
                <a16:creationId xmlns:a16="http://schemas.microsoft.com/office/drawing/2014/main" id="{389CDA3C-0A9A-FBD0-E4EA-FEF876BDB033}"/>
              </a:ext>
            </a:extLst>
          </p:cNvPr>
          <p:cNvGrpSpPr/>
          <p:nvPr/>
        </p:nvGrpSpPr>
        <p:grpSpPr>
          <a:xfrm>
            <a:off x="8733059" y="2574765"/>
            <a:ext cx="2841063" cy="1944592"/>
            <a:chOff x="388310" y="2065144"/>
            <a:chExt cx="2841063" cy="1944592"/>
          </a:xfrm>
        </p:grpSpPr>
        <p:sp>
          <p:nvSpPr>
            <p:cNvPr id="35" name="TextBox 34">
              <a:extLst>
                <a:ext uri="{FF2B5EF4-FFF2-40B4-BE49-F238E27FC236}">
                  <a16:creationId xmlns:a16="http://schemas.microsoft.com/office/drawing/2014/main" id="{2127F046-5890-234B-DAC1-22EBBF887A81}"/>
                </a:ext>
              </a:extLst>
            </p:cNvPr>
            <p:cNvSpPr txBox="1"/>
            <p:nvPr/>
          </p:nvSpPr>
          <p:spPr>
            <a:xfrm>
              <a:off x="388310" y="2259492"/>
              <a:ext cx="2841063" cy="1750244"/>
            </a:xfrm>
            <a:prstGeom prst="rect">
              <a:avLst/>
            </a:prstGeom>
            <a:noFill/>
          </p:spPr>
          <p:txBody>
            <a:bodyPr wrap="square" lIns="0" tIns="36576" rIns="0" bIns="0" rtlCol="0" anchor="t">
              <a:noAutofit/>
            </a:bodyPr>
            <a:lstStyle/>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Sesgos y problemas de imparcialidad</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Vulnerabilidad a la manipulación</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Integridad del modelo comprometida</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Precisión y autenticidad de los resultados</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Entradas de IA contaminadas</a:t>
              </a:r>
              <a:endParaRPr lang="en-US" sz="1000" dirty="0">
                <a:solidFill>
                  <a:srgbClr val="5F2364"/>
                </a:solidFill>
                <a:latin typeface="Century Gothic" panose="020B0502020202020204" pitchFamily="34" charset="0"/>
              </a:endParaRPr>
            </a:p>
          </p:txBody>
        </p:sp>
        <p:sp>
          <p:nvSpPr>
            <p:cNvPr id="36" name="TextBox 35">
              <a:extLst>
                <a:ext uri="{FF2B5EF4-FFF2-40B4-BE49-F238E27FC236}">
                  <a16:creationId xmlns:a16="http://schemas.microsoft.com/office/drawing/2014/main" id="{93492475-9007-D3DB-0BF0-46116B9B0CBC}"/>
                </a:ext>
              </a:extLst>
            </p:cNvPr>
            <p:cNvSpPr txBox="1"/>
            <p:nvPr/>
          </p:nvSpPr>
          <p:spPr>
            <a:xfrm>
              <a:off x="388310" y="2065144"/>
              <a:ext cx="1513589" cy="170594"/>
            </a:xfrm>
            <a:prstGeom prst="rect">
              <a:avLst/>
            </a:prstGeom>
            <a:noFill/>
          </p:spPr>
          <p:txBody>
            <a:bodyPr wrap="square" lIns="0" tIns="36576" rIns="0" bIns="0" rtlCol="0" anchor="t">
              <a:noAutofit/>
            </a:bodyPr>
            <a:lstStyle/>
            <a:p>
              <a:pPr algn="just">
                <a:lnSpc>
                  <a:spcPct val="85000"/>
                </a:lnSpc>
                <a:spcAft>
                  <a:spcPts val="600"/>
                </a:spcAft>
                <a:buClr>
                  <a:srgbClr val="FFE600"/>
                </a:buClr>
                <a:buSzPct val="80000"/>
              </a:pPr>
              <a:r>
                <a:rPr lang="es-MX" sz="1200" b="1" dirty="0">
                  <a:solidFill>
                    <a:srgbClr val="5F2364"/>
                  </a:solidFill>
                  <a:latin typeface="Century Gothic" panose="020B0502020202020204" pitchFamily="34" charset="0"/>
                </a:rPr>
                <a:t>Riesgos Algorítmicos</a:t>
              </a:r>
              <a:endParaRPr lang="en-US" sz="1200" b="1" dirty="0">
                <a:solidFill>
                  <a:srgbClr val="5F2364"/>
                </a:solidFill>
                <a:latin typeface="Century Gothic" panose="020B0502020202020204" pitchFamily="34" charset="0"/>
              </a:endParaRPr>
            </a:p>
          </p:txBody>
        </p:sp>
      </p:grpSp>
      <p:grpSp>
        <p:nvGrpSpPr>
          <p:cNvPr id="37" name="Group 36">
            <a:extLst>
              <a:ext uri="{FF2B5EF4-FFF2-40B4-BE49-F238E27FC236}">
                <a16:creationId xmlns:a16="http://schemas.microsoft.com/office/drawing/2014/main" id="{31206A2A-FDDA-8630-A3DD-B83654D6282C}"/>
              </a:ext>
            </a:extLst>
          </p:cNvPr>
          <p:cNvGrpSpPr/>
          <p:nvPr/>
        </p:nvGrpSpPr>
        <p:grpSpPr>
          <a:xfrm>
            <a:off x="1016695" y="4502453"/>
            <a:ext cx="3145318" cy="1944593"/>
            <a:chOff x="388309" y="2065143"/>
            <a:chExt cx="3145318" cy="1944593"/>
          </a:xfrm>
        </p:grpSpPr>
        <p:sp>
          <p:nvSpPr>
            <p:cNvPr id="38" name="TextBox 37">
              <a:extLst>
                <a:ext uri="{FF2B5EF4-FFF2-40B4-BE49-F238E27FC236}">
                  <a16:creationId xmlns:a16="http://schemas.microsoft.com/office/drawing/2014/main" id="{23311BE2-1732-8440-0929-EE9D880555CB}"/>
                </a:ext>
              </a:extLst>
            </p:cNvPr>
            <p:cNvSpPr txBox="1"/>
            <p:nvPr/>
          </p:nvSpPr>
          <p:spPr>
            <a:xfrm>
              <a:off x="388310" y="2259492"/>
              <a:ext cx="3145317" cy="1750244"/>
            </a:xfrm>
            <a:prstGeom prst="rect">
              <a:avLst/>
            </a:prstGeom>
            <a:noFill/>
          </p:spPr>
          <p:txBody>
            <a:bodyPr wrap="square" lIns="0" tIns="36576" rIns="0" bIns="0" rtlCol="0" anchor="t">
              <a:noAutofit/>
            </a:bodyPr>
            <a:lstStyle/>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Ajuste de parámetros del modelo no optimizado</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Calidad inconsistente y resultados monótonos</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Mecanismo inadecuado para el manejo de errores y fallos</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Supervisión inapropiada por parte de los equipos internos de TI</a:t>
              </a:r>
            </a:p>
          </p:txBody>
        </p:sp>
        <p:sp>
          <p:nvSpPr>
            <p:cNvPr id="41" name="TextBox 40">
              <a:extLst>
                <a:ext uri="{FF2B5EF4-FFF2-40B4-BE49-F238E27FC236}">
                  <a16:creationId xmlns:a16="http://schemas.microsoft.com/office/drawing/2014/main" id="{ADB41C79-BEC0-5206-28C6-EA00F53BC870}"/>
                </a:ext>
              </a:extLst>
            </p:cNvPr>
            <p:cNvSpPr txBox="1"/>
            <p:nvPr/>
          </p:nvSpPr>
          <p:spPr>
            <a:xfrm>
              <a:off x="388309" y="2065143"/>
              <a:ext cx="1886033" cy="290681"/>
            </a:xfrm>
            <a:prstGeom prst="rect">
              <a:avLst/>
            </a:prstGeom>
            <a:noFill/>
          </p:spPr>
          <p:txBody>
            <a:bodyPr wrap="square" lIns="0" tIns="36576" rIns="0" bIns="0" rtlCol="0" anchor="t">
              <a:noAutofit/>
            </a:bodyPr>
            <a:lstStyle/>
            <a:p>
              <a:pPr algn="just">
                <a:lnSpc>
                  <a:spcPct val="85000"/>
                </a:lnSpc>
                <a:spcAft>
                  <a:spcPts val="600"/>
                </a:spcAft>
                <a:buClr>
                  <a:srgbClr val="FFE600"/>
                </a:buClr>
                <a:buSzPct val="80000"/>
              </a:pPr>
              <a:r>
                <a:rPr lang="es-MX" sz="1200" b="1" dirty="0">
                  <a:solidFill>
                    <a:srgbClr val="5F2364"/>
                  </a:solidFill>
                  <a:latin typeface="Century Gothic" panose="020B0502020202020204" pitchFamily="34" charset="0"/>
                </a:rPr>
                <a:t>Riesgos de </a:t>
              </a:r>
              <a:r>
                <a:rPr lang="es-MX" sz="1200" b="1" i="1" dirty="0">
                  <a:solidFill>
                    <a:srgbClr val="5F2364"/>
                  </a:solidFill>
                  <a:latin typeface="Century Gothic" panose="020B0502020202020204" pitchFamily="34" charset="0"/>
                </a:rPr>
                <a:t>Performance</a:t>
              </a:r>
              <a:endParaRPr lang="en-US" sz="1200" b="1" i="1" dirty="0">
                <a:solidFill>
                  <a:srgbClr val="5F2364"/>
                </a:solidFill>
                <a:latin typeface="Century Gothic" panose="020B0502020202020204" pitchFamily="34" charset="0"/>
              </a:endParaRPr>
            </a:p>
          </p:txBody>
        </p:sp>
      </p:grpSp>
      <p:grpSp>
        <p:nvGrpSpPr>
          <p:cNvPr id="43" name="Group 42">
            <a:extLst>
              <a:ext uri="{FF2B5EF4-FFF2-40B4-BE49-F238E27FC236}">
                <a16:creationId xmlns:a16="http://schemas.microsoft.com/office/drawing/2014/main" id="{0F710189-9C93-A265-B559-D5F2BDB1E3D4}"/>
              </a:ext>
            </a:extLst>
          </p:cNvPr>
          <p:cNvGrpSpPr/>
          <p:nvPr/>
        </p:nvGrpSpPr>
        <p:grpSpPr>
          <a:xfrm>
            <a:off x="8733059" y="4502453"/>
            <a:ext cx="3145317" cy="1944592"/>
            <a:chOff x="388310" y="2065144"/>
            <a:chExt cx="3145317" cy="1944592"/>
          </a:xfrm>
        </p:grpSpPr>
        <p:sp>
          <p:nvSpPr>
            <p:cNvPr id="45" name="TextBox 44">
              <a:extLst>
                <a:ext uri="{FF2B5EF4-FFF2-40B4-BE49-F238E27FC236}">
                  <a16:creationId xmlns:a16="http://schemas.microsoft.com/office/drawing/2014/main" id="{4AE6C0F8-C5DD-A731-DC5A-75FE9E78D768}"/>
                </a:ext>
              </a:extLst>
            </p:cNvPr>
            <p:cNvSpPr txBox="1"/>
            <p:nvPr/>
          </p:nvSpPr>
          <p:spPr>
            <a:xfrm>
              <a:off x="388310" y="2259492"/>
              <a:ext cx="3145317" cy="1750244"/>
            </a:xfrm>
            <a:prstGeom prst="rect">
              <a:avLst/>
            </a:prstGeom>
            <a:noFill/>
          </p:spPr>
          <p:txBody>
            <a:bodyPr wrap="square" lIns="0" tIns="36576" rIns="0" bIns="0" rtlCol="0" anchor="t">
              <a:noAutofit/>
            </a:bodyPr>
            <a:lstStyle/>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Procedencia de datos inapropiada</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Reconstrucción de datos no autorizada</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Calidad de datos deficiente que afecta la precisión de los resultados de la IA</a:t>
              </a:r>
            </a:p>
            <a:p>
              <a:pPr marL="176213" indent="-176213" algn="just">
                <a:lnSpc>
                  <a:spcPct val="85000"/>
                </a:lnSpc>
                <a:spcAft>
                  <a:spcPts val="600"/>
                </a:spcAft>
                <a:buClr>
                  <a:srgbClr val="FFE600"/>
                </a:buClr>
                <a:buSzPct val="80000"/>
                <a:buFont typeface="Arial" pitchFamily="34" charset="0"/>
                <a:buChar char="►"/>
              </a:pPr>
              <a:r>
                <a:rPr lang="es-MX" sz="1000" dirty="0">
                  <a:solidFill>
                    <a:srgbClr val="5F2364"/>
                  </a:solidFill>
                  <a:latin typeface="Century Gothic" panose="020B0502020202020204" pitchFamily="34" charset="0"/>
                </a:rPr>
                <a:t>Acceso no autorizado a información sensible</a:t>
              </a:r>
              <a:endParaRPr lang="en-US" sz="1000" dirty="0">
                <a:solidFill>
                  <a:srgbClr val="5F2364"/>
                </a:solidFill>
                <a:latin typeface="Century Gothic" panose="020B0502020202020204" pitchFamily="34" charset="0"/>
              </a:endParaRPr>
            </a:p>
          </p:txBody>
        </p:sp>
        <p:sp>
          <p:nvSpPr>
            <p:cNvPr id="46" name="TextBox 45">
              <a:extLst>
                <a:ext uri="{FF2B5EF4-FFF2-40B4-BE49-F238E27FC236}">
                  <a16:creationId xmlns:a16="http://schemas.microsoft.com/office/drawing/2014/main" id="{61E8C8BC-C686-3C21-B35D-6A0F7C47CBF3}"/>
                </a:ext>
              </a:extLst>
            </p:cNvPr>
            <p:cNvSpPr txBox="1"/>
            <p:nvPr/>
          </p:nvSpPr>
          <p:spPr>
            <a:xfrm>
              <a:off x="388310" y="2065144"/>
              <a:ext cx="1572659" cy="121607"/>
            </a:xfrm>
            <a:prstGeom prst="rect">
              <a:avLst/>
            </a:prstGeom>
            <a:noFill/>
          </p:spPr>
          <p:txBody>
            <a:bodyPr wrap="square" lIns="0" tIns="36576" rIns="0" bIns="0" rtlCol="0" anchor="t">
              <a:noAutofit/>
            </a:bodyPr>
            <a:lstStyle/>
            <a:p>
              <a:pPr algn="just">
                <a:lnSpc>
                  <a:spcPct val="85000"/>
                </a:lnSpc>
                <a:spcAft>
                  <a:spcPts val="600"/>
                </a:spcAft>
                <a:buClr>
                  <a:srgbClr val="FFE600"/>
                </a:buClr>
                <a:buSzPct val="80000"/>
              </a:pPr>
              <a:r>
                <a:rPr lang="es-MX" sz="1200" b="1" dirty="0">
                  <a:solidFill>
                    <a:srgbClr val="5F2364"/>
                  </a:solidFill>
                  <a:latin typeface="Century Gothic" panose="020B0502020202020204" pitchFamily="34" charset="0"/>
                </a:rPr>
                <a:t>Riesgos de Datos</a:t>
              </a:r>
              <a:endParaRPr lang="en-US" sz="1200" b="1" dirty="0">
                <a:solidFill>
                  <a:srgbClr val="5F2364"/>
                </a:solidFill>
                <a:latin typeface="Century Gothic" panose="020B0502020202020204" pitchFamily="34" charset="0"/>
              </a:endParaRPr>
            </a:p>
          </p:txBody>
        </p:sp>
      </p:grpSp>
      <p:pic>
        <p:nvPicPr>
          <p:cNvPr id="47" name="Graphic 46" descr="World outline">
            <a:extLst>
              <a:ext uri="{FF2B5EF4-FFF2-40B4-BE49-F238E27FC236}">
                <a16:creationId xmlns:a16="http://schemas.microsoft.com/office/drawing/2014/main" id="{394321BA-F4A8-39D2-D62C-2A40ACAC5F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57200" y="5233933"/>
            <a:ext cx="411479" cy="411479"/>
          </a:xfrm>
          <a:prstGeom prst="rect">
            <a:avLst/>
          </a:prstGeom>
        </p:spPr>
      </p:pic>
      <p:pic>
        <p:nvPicPr>
          <p:cNvPr id="110" name="Graphic 109" descr="Syncing cloud outline">
            <a:extLst>
              <a:ext uri="{FF2B5EF4-FFF2-40B4-BE49-F238E27FC236}">
                <a16:creationId xmlns:a16="http://schemas.microsoft.com/office/drawing/2014/main" id="{6438EB25-C2D2-0A65-37E2-FBBB3AAE460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1132" y="5076375"/>
            <a:ext cx="411479" cy="411479"/>
          </a:xfrm>
          <a:prstGeom prst="rect">
            <a:avLst/>
          </a:prstGeom>
        </p:spPr>
      </p:pic>
      <p:pic>
        <p:nvPicPr>
          <p:cNvPr id="112" name="Graphic 111" descr="Brain in head outline">
            <a:extLst>
              <a:ext uri="{FF2B5EF4-FFF2-40B4-BE49-F238E27FC236}">
                <a16:creationId xmlns:a16="http://schemas.microsoft.com/office/drawing/2014/main" id="{274948E3-6E73-6D7B-0095-80BE818BDC3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837083" y="2759141"/>
            <a:ext cx="457200" cy="457200"/>
          </a:xfrm>
          <a:prstGeom prst="rect">
            <a:avLst/>
          </a:prstGeom>
        </p:spPr>
      </p:pic>
      <p:cxnSp>
        <p:nvCxnSpPr>
          <p:cNvPr id="114" name="Straight Connector 113">
            <a:extLst>
              <a:ext uri="{FF2B5EF4-FFF2-40B4-BE49-F238E27FC236}">
                <a16:creationId xmlns:a16="http://schemas.microsoft.com/office/drawing/2014/main" id="{6B617534-0CE1-1870-849E-A5A48F4FB2C5}"/>
              </a:ext>
            </a:extLst>
          </p:cNvPr>
          <p:cNvCxnSpPr>
            <a:cxnSpLocks/>
          </p:cNvCxnSpPr>
          <p:nvPr/>
        </p:nvCxnSpPr>
        <p:spPr>
          <a:xfrm>
            <a:off x="617877" y="4127500"/>
            <a:ext cx="3763623" cy="0"/>
          </a:xfrm>
          <a:prstGeom prst="line">
            <a:avLst/>
          </a:prstGeom>
          <a:ln w="9525" cap="flat" cmpd="sng" algn="ctr">
            <a:solidFill>
              <a:srgbClr val="5F23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5" name="Straight Connector 114">
            <a:extLst>
              <a:ext uri="{FF2B5EF4-FFF2-40B4-BE49-F238E27FC236}">
                <a16:creationId xmlns:a16="http://schemas.microsoft.com/office/drawing/2014/main" id="{D4AE6761-D08E-2977-CDF7-B40D3902200B}"/>
              </a:ext>
            </a:extLst>
          </p:cNvPr>
          <p:cNvCxnSpPr>
            <a:cxnSpLocks/>
          </p:cNvCxnSpPr>
          <p:nvPr/>
        </p:nvCxnSpPr>
        <p:spPr>
          <a:xfrm>
            <a:off x="8483600" y="4127500"/>
            <a:ext cx="3530600" cy="0"/>
          </a:xfrm>
          <a:prstGeom prst="line">
            <a:avLst/>
          </a:prstGeom>
          <a:ln w="9525" cap="flat" cmpd="sng" algn="ctr">
            <a:solidFill>
              <a:srgbClr val="5F23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7" name="Straight Connector 116">
            <a:extLst>
              <a:ext uri="{FF2B5EF4-FFF2-40B4-BE49-F238E27FC236}">
                <a16:creationId xmlns:a16="http://schemas.microsoft.com/office/drawing/2014/main" id="{6E561C46-6AC2-98DD-3FA9-0825423BF14A}"/>
              </a:ext>
            </a:extLst>
          </p:cNvPr>
          <p:cNvCxnSpPr>
            <a:cxnSpLocks/>
          </p:cNvCxnSpPr>
          <p:nvPr/>
        </p:nvCxnSpPr>
        <p:spPr>
          <a:xfrm flipV="1">
            <a:off x="6578600" y="6161296"/>
            <a:ext cx="0" cy="571500"/>
          </a:xfrm>
          <a:prstGeom prst="line">
            <a:avLst/>
          </a:prstGeom>
          <a:ln w="9525" cap="flat" cmpd="sng" algn="ctr">
            <a:solidFill>
              <a:srgbClr val="5F23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0" name="Straight Connector 119">
            <a:extLst>
              <a:ext uri="{FF2B5EF4-FFF2-40B4-BE49-F238E27FC236}">
                <a16:creationId xmlns:a16="http://schemas.microsoft.com/office/drawing/2014/main" id="{B5E56475-3DBA-ABAC-514C-6A8C00D9367F}"/>
              </a:ext>
            </a:extLst>
          </p:cNvPr>
          <p:cNvCxnSpPr>
            <a:cxnSpLocks/>
          </p:cNvCxnSpPr>
          <p:nvPr/>
        </p:nvCxnSpPr>
        <p:spPr>
          <a:xfrm flipV="1">
            <a:off x="6477000" y="1887676"/>
            <a:ext cx="0" cy="330969"/>
          </a:xfrm>
          <a:prstGeom prst="line">
            <a:avLst/>
          </a:prstGeom>
          <a:ln w="9525" cap="flat" cmpd="sng" algn="ctr">
            <a:solidFill>
              <a:srgbClr val="5F23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678543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655CD-E560-3964-7E45-23BBC80B56F1}"/>
            </a:ext>
          </a:extLst>
        </p:cNvPr>
        <p:cNvGrpSpPr/>
        <p:nvPr/>
      </p:nvGrpSpPr>
      <p:grpSpPr>
        <a:xfrm>
          <a:off x="0" y="0"/>
          <a:ext cx="0" cy="0"/>
          <a:chOff x="0" y="0"/>
          <a:chExt cx="0" cy="0"/>
        </a:xfrm>
      </p:grpSpPr>
      <p:grpSp>
        <p:nvGrpSpPr>
          <p:cNvPr id="4" name="Grupo 3">
            <a:extLst>
              <a:ext uri="{FF2B5EF4-FFF2-40B4-BE49-F238E27FC236}">
                <a16:creationId xmlns:a16="http://schemas.microsoft.com/office/drawing/2014/main" id="{1994FF57-D91B-D4A2-33AD-B1D0A0618999}"/>
              </a:ext>
            </a:extLst>
          </p:cNvPr>
          <p:cNvGrpSpPr/>
          <p:nvPr/>
        </p:nvGrpSpPr>
        <p:grpSpPr>
          <a:xfrm>
            <a:off x="254282" y="270730"/>
            <a:ext cx="748010" cy="812393"/>
            <a:chOff x="533341" y="510112"/>
            <a:chExt cx="997346" cy="1083190"/>
          </a:xfrm>
        </p:grpSpPr>
        <p:sp>
          <p:nvSpPr>
            <p:cNvPr id="6" name="object 9">
              <a:extLst>
                <a:ext uri="{FF2B5EF4-FFF2-40B4-BE49-F238E27FC236}">
                  <a16:creationId xmlns:a16="http://schemas.microsoft.com/office/drawing/2014/main" id="{45B37AB9-02EC-9D21-0690-1D1E2042DC31}"/>
                </a:ext>
              </a:extLst>
            </p:cNvPr>
            <p:cNvSpPr/>
            <p:nvPr/>
          </p:nvSpPr>
          <p:spPr>
            <a:xfrm>
              <a:off x="53334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3" name="object 10">
              <a:extLst>
                <a:ext uri="{FF2B5EF4-FFF2-40B4-BE49-F238E27FC236}">
                  <a16:creationId xmlns:a16="http://schemas.microsoft.com/office/drawing/2014/main" id="{484280FA-A471-7E16-1309-549F24C45ACD}"/>
                </a:ext>
              </a:extLst>
            </p:cNvPr>
            <p:cNvSpPr/>
            <p:nvPr/>
          </p:nvSpPr>
          <p:spPr>
            <a:xfrm>
              <a:off x="69331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7" name="object 11">
              <a:extLst>
                <a:ext uri="{FF2B5EF4-FFF2-40B4-BE49-F238E27FC236}">
                  <a16:creationId xmlns:a16="http://schemas.microsoft.com/office/drawing/2014/main" id="{1780692B-804E-CC85-D87D-22333786E960}"/>
                </a:ext>
              </a:extLst>
            </p:cNvPr>
            <p:cNvSpPr/>
            <p:nvPr/>
          </p:nvSpPr>
          <p:spPr>
            <a:xfrm>
              <a:off x="853292"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20" name="object 12">
              <a:extLst>
                <a:ext uri="{FF2B5EF4-FFF2-40B4-BE49-F238E27FC236}">
                  <a16:creationId xmlns:a16="http://schemas.microsoft.com/office/drawing/2014/main" id="{2E56E787-F111-0468-D141-F295F5B63A3F}"/>
                </a:ext>
              </a:extLst>
            </p:cNvPr>
            <p:cNvSpPr/>
            <p:nvPr/>
          </p:nvSpPr>
          <p:spPr>
            <a:xfrm>
              <a:off x="101328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1" name="object 13">
              <a:extLst>
                <a:ext uri="{FF2B5EF4-FFF2-40B4-BE49-F238E27FC236}">
                  <a16:creationId xmlns:a16="http://schemas.microsoft.com/office/drawing/2014/main" id="{7F351A33-8ECD-53EE-0440-2593EC76F4A3}"/>
                </a:ext>
              </a:extLst>
            </p:cNvPr>
            <p:cNvSpPr/>
            <p:nvPr/>
          </p:nvSpPr>
          <p:spPr>
            <a:xfrm>
              <a:off x="533341"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3" name="object 14">
              <a:extLst>
                <a:ext uri="{FF2B5EF4-FFF2-40B4-BE49-F238E27FC236}">
                  <a16:creationId xmlns:a16="http://schemas.microsoft.com/office/drawing/2014/main" id="{B9B0FCC8-8653-A3AF-88E7-43F3F016214D}"/>
                </a:ext>
              </a:extLst>
            </p:cNvPr>
            <p:cNvSpPr/>
            <p:nvPr/>
          </p:nvSpPr>
          <p:spPr>
            <a:xfrm>
              <a:off x="69331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4" name="object 15">
              <a:extLst>
                <a:ext uri="{FF2B5EF4-FFF2-40B4-BE49-F238E27FC236}">
                  <a16:creationId xmlns:a16="http://schemas.microsoft.com/office/drawing/2014/main" id="{DC7BDDC8-F9F6-BA67-0106-CEFB3AF37F31}"/>
                </a:ext>
              </a:extLst>
            </p:cNvPr>
            <p:cNvSpPr/>
            <p:nvPr/>
          </p:nvSpPr>
          <p:spPr>
            <a:xfrm>
              <a:off x="853290"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5" name="object 16">
              <a:extLst>
                <a:ext uri="{FF2B5EF4-FFF2-40B4-BE49-F238E27FC236}">
                  <a16:creationId xmlns:a16="http://schemas.microsoft.com/office/drawing/2014/main" id="{F3C7427A-A9BB-7649-75B9-2FFADAA01B49}"/>
                </a:ext>
              </a:extLst>
            </p:cNvPr>
            <p:cNvSpPr/>
            <p:nvPr/>
          </p:nvSpPr>
          <p:spPr>
            <a:xfrm>
              <a:off x="1013280"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6" name="object 17">
              <a:extLst>
                <a:ext uri="{FF2B5EF4-FFF2-40B4-BE49-F238E27FC236}">
                  <a16:creationId xmlns:a16="http://schemas.microsoft.com/office/drawing/2014/main" id="{00AF9055-5580-213E-D2F2-E6FD5A7CBF1E}"/>
                </a:ext>
              </a:extLst>
            </p:cNvPr>
            <p:cNvSpPr/>
            <p:nvPr/>
          </p:nvSpPr>
          <p:spPr>
            <a:xfrm>
              <a:off x="53334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7" name="object 18">
              <a:extLst>
                <a:ext uri="{FF2B5EF4-FFF2-40B4-BE49-F238E27FC236}">
                  <a16:creationId xmlns:a16="http://schemas.microsoft.com/office/drawing/2014/main" id="{99C76532-30CF-F6EC-7032-F3922555C92D}"/>
                </a:ext>
              </a:extLst>
            </p:cNvPr>
            <p:cNvSpPr/>
            <p:nvPr/>
          </p:nvSpPr>
          <p:spPr>
            <a:xfrm>
              <a:off x="69331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8" name="object 19">
              <a:extLst>
                <a:ext uri="{FF2B5EF4-FFF2-40B4-BE49-F238E27FC236}">
                  <a16:creationId xmlns:a16="http://schemas.microsoft.com/office/drawing/2014/main" id="{8347A1E6-4A42-7718-EA80-BA4841A1301A}"/>
                </a:ext>
              </a:extLst>
            </p:cNvPr>
            <p:cNvSpPr/>
            <p:nvPr/>
          </p:nvSpPr>
          <p:spPr>
            <a:xfrm>
              <a:off x="853292"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9" name="object 20">
              <a:extLst>
                <a:ext uri="{FF2B5EF4-FFF2-40B4-BE49-F238E27FC236}">
                  <a16:creationId xmlns:a16="http://schemas.microsoft.com/office/drawing/2014/main" id="{98FA9957-214A-FD7D-303C-700CE26E976E}"/>
                </a:ext>
              </a:extLst>
            </p:cNvPr>
            <p:cNvSpPr/>
            <p:nvPr/>
          </p:nvSpPr>
          <p:spPr>
            <a:xfrm>
              <a:off x="101328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0" name="object 21">
              <a:extLst>
                <a:ext uri="{FF2B5EF4-FFF2-40B4-BE49-F238E27FC236}">
                  <a16:creationId xmlns:a16="http://schemas.microsoft.com/office/drawing/2014/main" id="{74E1FA67-6373-4543-8792-23420B67D8C7}"/>
                </a:ext>
              </a:extLst>
            </p:cNvPr>
            <p:cNvSpPr/>
            <p:nvPr/>
          </p:nvSpPr>
          <p:spPr>
            <a:xfrm>
              <a:off x="53334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1" name="object 22">
              <a:extLst>
                <a:ext uri="{FF2B5EF4-FFF2-40B4-BE49-F238E27FC236}">
                  <a16:creationId xmlns:a16="http://schemas.microsoft.com/office/drawing/2014/main" id="{AAA673D0-26E0-1415-6F64-BA490071DC26}"/>
                </a:ext>
              </a:extLst>
            </p:cNvPr>
            <p:cNvSpPr/>
            <p:nvPr/>
          </p:nvSpPr>
          <p:spPr>
            <a:xfrm>
              <a:off x="69331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2" name="object 23">
              <a:extLst>
                <a:ext uri="{FF2B5EF4-FFF2-40B4-BE49-F238E27FC236}">
                  <a16:creationId xmlns:a16="http://schemas.microsoft.com/office/drawing/2014/main" id="{02EFF7F5-C602-753C-801D-4B2292574032}"/>
                </a:ext>
              </a:extLst>
            </p:cNvPr>
            <p:cNvSpPr/>
            <p:nvPr/>
          </p:nvSpPr>
          <p:spPr>
            <a:xfrm>
              <a:off x="853292"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3" name="object 24">
              <a:extLst>
                <a:ext uri="{FF2B5EF4-FFF2-40B4-BE49-F238E27FC236}">
                  <a16:creationId xmlns:a16="http://schemas.microsoft.com/office/drawing/2014/main" id="{F9D5CC3E-C0EB-A95C-B436-B2FB4E2D5005}"/>
                </a:ext>
              </a:extLst>
            </p:cNvPr>
            <p:cNvSpPr/>
            <p:nvPr/>
          </p:nvSpPr>
          <p:spPr>
            <a:xfrm>
              <a:off x="101328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4" name="object 25">
              <a:extLst>
                <a:ext uri="{FF2B5EF4-FFF2-40B4-BE49-F238E27FC236}">
                  <a16:creationId xmlns:a16="http://schemas.microsoft.com/office/drawing/2014/main" id="{DFACD589-76E4-D5D9-4964-EC8E669860ED}"/>
                </a:ext>
              </a:extLst>
            </p:cNvPr>
            <p:cNvSpPr/>
            <p:nvPr/>
          </p:nvSpPr>
          <p:spPr>
            <a:xfrm>
              <a:off x="533341"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5" name="object 26">
              <a:extLst>
                <a:ext uri="{FF2B5EF4-FFF2-40B4-BE49-F238E27FC236}">
                  <a16:creationId xmlns:a16="http://schemas.microsoft.com/office/drawing/2014/main" id="{3482B46D-045F-566A-F87D-54081BF91D56}"/>
                </a:ext>
              </a:extLst>
            </p:cNvPr>
            <p:cNvSpPr/>
            <p:nvPr/>
          </p:nvSpPr>
          <p:spPr>
            <a:xfrm>
              <a:off x="69331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6" name="object 27">
              <a:extLst>
                <a:ext uri="{FF2B5EF4-FFF2-40B4-BE49-F238E27FC236}">
                  <a16:creationId xmlns:a16="http://schemas.microsoft.com/office/drawing/2014/main" id="{E330B55B-53FE-E806-B7AD-F45F8CA6AE85}"/>
                </a:ext>
              </a:extLst>
            </p:cNvPr>
            <p:cNvSpPr/>
            <p:nvPr/>
          </p:nvSpPr>
          <p:spPr>
            <a:xfrm>
              <a:off x="853290"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object 28">
              <a:extLst>
                <a:ext uri="{FF2B5EF4-FFF2-40B4-BE49-F238E27FC236}">
                  <a16:creationId xmlns:a16="http://schemas.microsoft.com/office/drawing/2014/main" id="{BC36B3DB-9CBF-4ED7-5115-300CE6D0E14E}"/>
                </a:ext>
              </a:extLst>
            </p:cNvPr>
            <p:cNvSpPr/>
            <p:nvPr/>
          </p:nvSpPr>
          <p:spPr>
            <a:xfrm>
              <a:off x="1013280"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8" name="object 29">
              <a:extLst>
                <a:ext uri="{FF2B5EF4-FFF2-40B4-BE49-F238E27FC236}">
                  <a16:creationId xmlns:a16="http://schemas.microsoft.com/office/drawing/2014/main" id="{FFD9DA47-0F8F-AE24-F7A9-14F10741021D}"/>
                </a:ext>
              </a:extLst>
            </p:cNvPr>
            <p:cNvSpPr/>
            <p:nvPr/>
          </p:nvSpPr>
          <p:spPr>
            <a:xfrm>
              <a:off x="53334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9" name="object 30">
              <a:extLst>
                <a:ext uri="{FF2B5EF4-FFF2-40B4-BE49-F238E27FC236}">
                  <a16:creationId xmlns:a16="http://schemas.microsoft.com/office/drawing/2014/main" id="{BBC9E6BD-DA50-4836-89CF-07DBC5E1F4BA}"/>
                </a:ext>
              </a:extLst>
            </p:cNvPr>
            <p:cNvSpPr/>
            <p:nvPr/>
          </p:nvSpPr>
          <p:spPr>
            <a:xfrm>
              <a:off x="69331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0" name="object 31">
              <a:extLst>
                <a:ext uri="{FF2B5EF4-FFF2-40B4-BE49-F238E27FC236}">
                  <a16:creationId xmlns:a16="http://schemas.microsoft.com/office/drawing/2014/main" id="{45AC051E-9831-D47D-8448-FF8608677C4E}"/>
                </a:ext>
              </a:extLst>
            </p:cNvPr>
            <p:cNvSpPr/>
            <p:nvPr/>
          </p:nvSpPr>
          <p:spPr>
            <a:xfrm>
              <a:off x="853292"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1" name="object 32">
              <a:extLst>
                <a:ext uri="{FF2B5EF4-FFF2-40B4-BE49-F238E27FC236}">
                  <a16:creationId xmlns:a16="http://schemas.microsoft.com/office/drawing/2014/main" id="{68EDDAD7-54E8-626F-E6D0-7C7F7076F45A}"/>
                </a:ext>
              </a:extLst>
            </p:cNvPr>
            <p:cNvSpPr/>
            <p:nvPr/>
          </p:nvSpPr>
          <p:spPr>
            <a:xfrm>
              <a:off x="101328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2" name="object 33">
              <a:extLst>
                <a:ext uri="{FF2B5EF4-FFF2-40B4-BE49-F238E27FC236}">
                  <a16:creationId xmlns:a16="http://schemas.microsoft.com/office/drawing/2014/main" id="{99FF339F-091E-9448-04B7-8D53EE8408DD}"/>
                </a:ext>
              </a:extLst>
            </p:cNvPr>
            <p:cNvSpPr/>
            <p:nvPr/>
          </p:nvSpPr>
          <p:spPr>
            <a:xfrm>
              <a:off x="53334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3" name="object 34">
              <a:extLst>
                <a:ext uri="{FF2B5EF4-FFF2-40B4-BE49-F238E27FC236}">
                  <a16:creationId xmlns:a16="http://schemas.microsoft.com/office/drawing/2014/main" id="{7F16C95B-D1CB-BB34-5E79-1A7C5381098B}"/>
                </a:ext>
              </a:extLst>
            </p:cNvPr>
            <p:cNvSpPr/>
            <p:nvPr/>
          </p:nvSpPr>
          <p:spPr>
            <a:xfrm>
              <a:off x="69331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4" name="object 35">
              <a:extLst>
                <a:ext uri="{FF2B5EF4-FFF2-40B4-BE49-F238E27FC236}">
                  <a16:creationId xmlns:a16="http://schemas.microsoft.com/office/drawing/2014/main" id="{46B896CC-9AE6-7986-EDC0-7AC9AD03165D}"/>
                </a:ext>
              </a:extLst>
            </p:cNvPr>
            <p:cNvSpPr/>
            <p:nvPr/>
          </p:nvSpPr>
          <p:spPr>
            <a:xfrm>
              <a:off x="853292"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5" name="object 36">
              <a:extLst>
                <a:ext uri="{FF2B5EF4-FFF2-40B4-BE49-F238E27FC236}">
                  <a16:creationId xmlns:a16="http://schemas.microsoft.com/office/drawing/2014/main" id="{1E780C1E-7D8A-930F-5ACF-11CD83B3BAA5}"/>
                </a:ext>
              </a:extLst>
            </p:cNvPr>
            <p:cNvSpPr/>
            <p:nvPr/>
          </p:nvSpPr>
          <p:spPr>
            <a:xfrm>
              <a:off x="101328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6" name="object 37">
              <a:extLst>
                <a:ext uri="{FF2B5EF4-FFF2-40B4-BE49-F238E27FC236}">
                  <a16:creationId xmlns:a16="http://schemas.microsoft.com/office/drawing/2014/main" id="{E7F76F03-0E81-3E2D-28F7-619A0EA56597}"/>
                </a:ext>
              </a:extLst>
            </p:cNvPr>
            <p:cNvSpPr/>
            <p:nvPr/>
          </p:nvSpPr>
          <p:spPr>
            <a:xfrm>
              <a:off x="533341"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7" name="object 38">
              <a:extLst>
                <a:ext uri="{FF2B5EF4-FFF2-40B4-BE49-F238E27FC236}">
                  <a16:creationId xmlns:a16="http://schemas.microsoft.com/office/drawing/2014/main" id="{BE85C7F0-ACD6-A49F-5675-037C857031FD}"/>
                </a:ext>
              </a:extLst>
            </p:cNvPr>
            <p:cNvSpPr/>
            <p:nvPr/>
          </p:nvSpPr>
          <p:spPr>
            <a:xfrm>
              <a:off x="69331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object 39">
              <a:extLst>
                <a:ext uri="{FF2B5EF4-FFF2-40B4-BE49-F238E27FC236}">
                  <a16:creationId xmlns:a16="http://schemas.microsoft.com/office/drawing/2014/main" id="{E84ACAE0-9B54-217D-3DA4-E301EF452AE5}"/>
                </a:ext>
              </a:extLst>
            </p:cNvPr>
            <p:cNvSpPr/>
            <p:nvPr/>
          </p:nvSpPr>
          <p:spPr>
            <a:xfrm>
              <a:off x="853290"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9" name="object 40">
              <a:extLst>
                <a:ext uri="{FF2B5EF4-FFF2-40B4-BE49-F238E27FC236}">
                  <a16:creationId xmlns:a16="http://schemas.microsoft.com/office/drawing/2014/main" id="{C036AD0D-A2CF-BA62-116D-479FB1005D4D}"/>
                </a:ext>
              </a:extLst>
            </p:cNvPr>
            <p:cNvSpPr/>
            <p:nvPr/>
          </p:nvSpPr>
          <p:spPr>
            <a:xfrm>
              <a:off x="1013280"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0" name="object 41">
              <a:extLst>
                <a:ext uri="{FF2B5EF4-FFF2-40B4-BE49-F238E27FC236}">
                  <a16:creationId xmlns:a16="http://schemas.microsoft.com/office/drawing/2014/main" id="{5F4F0BF6-2A0B-B8FE-6591-DE12EC5D6852}"/>
                </a:ext>
              </a:extLst>
            </p:cNvPr>
            <p:cNvSpPr/>
            <p:nvPr/>
          </p:nvSpPr>
          <p:spPr>
            <a:xfrm>
              <a:off x="101328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1" name="object 42">
              <a:extLst>
                <a:ext uri="{FF2B5EF4-FFF2-40B4-BE49-F238E27FC236}">
                  <a16:creationId xmlns:a16="http://schemas.microsoft.com/office/drawing/2014/main" id="{237092A3-1234-E1C9-AC21-1D847A2A10E3}"/>
                </a:ext>
              </a:extLst>
            </p:cNvPr>
            <p:cNvSpPr/>
            <p:nvPr/>
          </p:nvSpPr>
          <p:spPr>
            <a:xfrm>
              <a:off x="117325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2" name="object 43">
              <a:extLst>
                <a:ext uri="{FF2B5EF4-FFF2-40B4-BE49-F238E27FC236}">
                  <a16:creationId xmlns:a16="http://schemas.microsoft.com/office/drawing/2014/main" id="{CDC1975D-3B1F-883D-D761-1EAF337B4418}"/>
                </a:ext>
              </a:extLst>
            </p:cNvPr>
            <p:cNvSpPr/>
            <p:nvPr/>
          </p:nvSpPr>
          <p:spPr>
            <a:xfrm>
              <a:off x="1333233"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3" name="object 44">
              <a:extLst>
                <a:ext uri="{FF2B5EF4-FFF2-40B4-BE49-F238E27FC236}">
                  <a16:creationId xmlns:a16="http://schemas.microsoft.com/office/drawing/2014/main" id="{CEC29787-04C7-5CC9-C67F-0EADD12D872C}"/>
                </a:ext>
              </a:extLst>
            </p:cNvPr>
            <p:cNvSpPr/>
            <p:nvPr/>
          </p:nvSpPr>
          <p:spPr>
            <a:xfrm>
              <a:off x="149322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4" name="object 45">
              <a:extLst>
                <a:ext uri="{FF2B5EF4-FFF2-40B4-BE49-F238E27FC236}">
                  <a16:creationId xmlns:a16="http://schemas.microsoft.com/office/drawing/2014/main" id="{C977A005-A8B2-4B64-DA22-BE98226583BF}"/>
                </a:ext>
              </a:extLst>
            </p:cNvPr>
            <p:cNvSpPr/>
            <p:nvPr/>
          </p:nvSpPr>
          <p:spPr>
            <a:xfrm>
              <a:off x="1013280"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5" name="object 46">
              <a:extLst>
                <a:ext uri="{FF2B5EF4-FFF2-40B4-BE49-F238E27FC236}">
                  <a16:creationId xmlns:a16="http://schemas.microsoft.com/office/drawing/2014/main" id="{D939F0C4-85CA-537B-B6A9-144961AA5F6B}"/>
                </a:ext>
              </a:extLst>
            </p:cNvPr>
            <p:cNvSpPr/>
            <p:nvPr/>
          </p:nvSpPr>
          <p:spPr>
            <a:xfrm>
              <a:off x="117325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6" name="object 47">
              <a:extLst>
                <a:ext uri="{FF2B5EF4-FFF2-40B4-BE49-F238E27FC236}">
                  <a16:creationId xmlns:a16="http://schemas.microsoft.com/office/drawing/2014/main" id="{118A67F0-AF57-2D9F-347C-EE2B254A32B6}"/>
                </a:ext>
              </a:extLst>
            </p:cNvPr>
            <p:cNvSpPr/>
            <p:nvPr/>
          </p:nvSpPr>
          <p:spPr>
            <a:xfrm>
              <a:off x="1333231"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7" name="object 48">
              <a:extLst>
                <a:ext uri="{FF2B5EF4-FFF2-40B4-BE49-F238E27FC236}">
                  <a16:creationId xmlns:a16="http://schemas.microsoft.com/office/drawing/2014/main" id="{03663CE9-4BD4-6337-CE35-6933B17A2A9E}"/>
                </a:ext>
              </a:extLst>
            </p:cNvPr>
            <p:cNvSpPr/>
            <p:nvPr/>
          </p:nvSpPr>
          <p:spPr>
            <a:xfrm>
              <a:off x="1493221"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8" name="object 49">
              <a:extLst>
                <a:ext uri="{FF2B5EF4-FFF2-40B4-BE49-F238E27FC236}">
                  <a16:creationId xmlns:a16="http://schemas.microsoft.com/office/drawing/2014/main" id="{E116312B-741C-116A-BD6D-2F64DF349960}"/>
                </a:ext>
              </a:extLst>
            </p:cNvPr>
            <p:cNvSpPr/>
            <p:nvPr/>
          </p:nvSpPr>
          <p:spPr>
            <a:xfrm>
              <a:off x="101328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9" name="object 50">
              <a:extLst>
                <a:ext uri="{FF2B5EF4-FFF2-40B4-BE49-F238E27FC236}">
                  <a16:creationId xmlns:a16="http://schemas.microsoft.com/office/drawing/2014/main" id="{3831DD07-D931-EDED-8B51-BD0C0115580E}"/>
                </a:ext>
              </a:extLst>
            </p:cNvPr>
            <p:cNvSpPr/>
            <p:nvPr/>
          </p:nvSpPr>
          <p:spPr>
            <a:xfrm>
              <a:off x="117325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0" name="object 51">
              <a:extLst>
                <a:ext uri="{FF2B5EF4-FFF2-40B4-BE49-F238E27FC236}">
                  <a16:creationId xmlns:a16="http://schemas.microsoft.com/office/drawing/2014/main" id="{C5CAAB31-40E1-7EF8-79BF-190960150871}"/>
                </a:ext>
              </a:extLst>
            </p:cNvPr>
            <p:cNvSpPr/>
            <p:nvPr/>
          </p:nvSpPr>
          <p:spPr>
            <a:xfrm>
              <a:off x="1333233"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1" name="object 52">
              <a:extLst>
                <a:ext uri="{FF2B5EF4-FFF2-40B4-BE49-F238E27FC236}">
                  <a16:creationId xmlns:a16="http://schemas.microsoft.com/office/drawing/2014/main" id="{346A5CC5-0DF0-5604-C0DC-640A40E8C96D}"/>
                </a:ext>
              </a:extLst>
            </p:cNvPr>
            <p:cNvSpPr/>
            <p:nvPr/>
          </p:nvSpPr>
          <p:spPr>
            <a:xfrm>
              <a:off x="149322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2" name="object 53">
              <a:extLst>
                <a:ext uri="{FF2B5EF4-FFF2-40B4-BE49-F238E27FC236}">
                  <a16:creationId xmlns:a16="http://schemas.microsoft.com/office/drawing/2014/main" id="{E9E2FB84-EDFF-647D-9E9B-9B53C2978A4E}"/>
                </a:ext>
              </a:extLst>
            </p:cNvPr>
            <p:cNvSpPr/>
            <p:nvPr/>
          </p:nvSpPr>
          <p:spPr>
            <a:xfrm>
              <a:off x="101328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3" name="object 54">
              <a:extLst>
                <a:ext uri="{FF2B5EF4-FFF2-40B4-BE49-F238E27FC236}">
                  <a16:creationId xmlns:a16="http://schemas.microsoft.com/office/drawing/2014/main" id="{4789DD6D-59B6-A58E-F004-E21269BD930A}"/>
                </a:ext>
              </a:extLst>
            </p:cNvPr>
            <p:cNvSpPr/>
            <p:nvPr/>
          </p:nvSpPr>
          <p:spPr>
            <a:xfrm>
              <a:off x="117325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4" name="object 55">
              <a:extLst>
                <a:ext uri="{FF2B5EF4-FFF2-40B4-BE49-F238E27FC236}">
                  <a16:creationId xmlns:a16="http://schemas.microsoft.com/office/drawing/2014/main" id="{D8330349-699C-0571-B7EA-BAB026131C21}"/>
                </a:ext>
              </a:extLst>
            </p:cNvPr>
            <p:cNvSpPr/>
            <p:nvPr/>
          </p:nvSpPr>
          <p:spPr>
            <a:xfrm>
              <a:off x="1333233"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5" name="object 56">
              <a:extLst>
                <a:ext uri="{FF2B5EF4-FFF2-40B4-BE49-F238E27FC236}">
                  <a16:creationId xmlns:a16="http://schemas.microsoft.com/office/drawing/2014/main" id="{D5F7ACEA-D1F1-F4F6-303B-2C95A59BF828}"/>
                </a:ext>
              </a:extLst>
            </p:cNvPr>
            <p:cNvSpPr/>
            <p:nvPr/>
          </p:nvSpPr>
          <p:spPr>
            <a:xfrm>
              <a:off x="149322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6" name="object 57">
              <a:extLst>
                <a:ext uri="{FF2B5EF4-FFF2-40B4-BE49-F238E27FC236}">
                  <a16:creationId xmlns:a16="http://schemas.microsoft.com/office/drawing/2014/main" id="{DFD2A1D9-E47C-EA51-4FE6-CA24542D9C56}"/>
                </a:ext>
              </a:extLst>
            </p:cNvPr>
            <p:cNvSpPr/>
            <p:nvPr/>
          </p:nvSpPr>
          <p:spPr>
            <a:xfrm>
              <a:off x="1013280"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7" name="object 58">
              <a:extLst>
                <a:ext uri="{FF2B5EF4-FFF2-40B4-BE49-F238E27FC236}">
                  <a16:creationId xmlns:a16="http://schemas.microsoft.com/office/drawing/2014/main" id="{92ED5CB5-DEE6-7C4D-6F02-B48124ECA4CF}"/>
                </a:ext>
              </a:extLst>
            </p:cNvPr>
            <p:cNvSpPr/>
            <p:nvPr/>
          </p:nvSpPr>
          <p:spPr>
            <a:xfrm>
              <a:off x="117325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8" name="object 59">
              <a:extLst>
                <a:ext uri="{FF2B5EF4-FFF2-40B4-BE49-F238E27FC236}">
                  <a16:creationId xmlns:a16="http://schemas.microsoft.com/office/drawing/2014/main" id="{5BFAB73C-BA9F-D71B-1E62-314E1D978F6A}"/>
                </a:ext>
              </a:extLst>
            </p:cNvPr>
            <p:cNvSpPr/>
            <p:nvPr/>
          </p:nvSpPr>
          <p:spPr>
            <a:xfrm>
              <a:off x="1333231"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9" name="object 60">
              <a:extLst>
                <a:ext uri="{FF2B5EF4-FFF2-40B4-BE49-F238E27FC236}">
                  <a16:creationId xmlns:a16="http://schemas.microsoft.com/office/drawing/2014/main" id="{88FFA714-1E3E-1166-A6FA-114D1BDE934D}"/>
                </a:ext>
              </a:extLst>
            </p:cNvPr>
            <p:cNvSpPr/>
            <p:nvPr/>
          </p:nvSpPr>
          <p:spPr>
            <a:xfrm>
              <a:off x="1493221"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0" name="object 61">
              <a:extLst>
                <a:ext uri="{FF2B5EF4-FFF2-40B4-BE49-F238E27FC236}">
                  <a16:creationId xmlns:a16="http://schemas.microsoft.com/office/drawing/2014/main" id="{FEDE077A-8D48-EDFF-4763-DDDBF5BDFD03}"/>
                </a:ext>
              </a:extLst>
            </p:cNvPr>
            <p:cNvSpPr/>
            <p:nvPr/>
          </p:nvSpPr>
          <p:spPr>
            <a:xfrm>
              <a:off x="101328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1" name="object 62">
              <a:extLst>
                <a:ext uri="{FF2B5EF4-FFF2-40B4-BE49-F238E27FC236}">
                  <a16:creationId xmlns:a16="http://schemas.microsoft.com/office/drawing/2014/main" id="{C44887A5-1E69-D927-6E5F-1748FF624931}"/>
                </a:ext>
              </a:extLst>
            </p:cNvPr>
            <p:cNvSpPr/>
            <p:nvPr/>
          </p:nvSpPr>
          <p:spPr>
            <a:xfrm>
              <a:off x="117325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2" name="object 63">
              <a:extLst>
                <a:ext uri="{FF2B5EF4-FFF2-40B4-BE49-F238E27FC236}">
                  <a16:creationId xmlns:a16="http://schemas.microsoft.com/office/drawing/2014/main" id="{A108E884-E052-84C0-3DAA-A871633A20EF}"/>
                </a:ext>
              </a:extLst>
            </p:cNvPr>
            <p:cNvSpPr/>
            <p:nvPr/>
          </p:nvSpPr>
          <p:spPr>
            <a:xfrm>
              <a:off x="1333233"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3" name="object 64">
              <a:extLst>
                <a:ext uri="{FF2B5EF4-FFF2-40B4-BE49-F238E27FC236}">
                  <a16:creationId xmlns:a16="http://schemas.microsoft.com/office/drawing/2014/main" id="{2B5A7DEE-A90B-C47A-3D6A-42B1E7B9B69B}"/>
                </a:ext>
              </a:extLst>
            </p:cNvPr>
            <p:cNvSpPr/>
            <p:nvPr/>
          </p:nvSpPr>
          <p:spPr>
            <a:xfrm>
              <a:off x="149322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4" name="object 65">
              <a:extLst>
                <a:ext uri="{FF2B5EF4-FFF2-40B4-BE49-F238E27FC236}">
                  <a16:creationId xmlns:a16="http://schemas.microsoft.com/office/drawing/2014/main" id="{A5F56392-3BFF-0AF6-448C-663B8BCDB2D5}"/>
                </a:ext>
              </a:extLst>
            </p:cNvPr>
            <p:cNvSpPr/>
            <p:nvPr/>
          </p:nvSpPr>
          <p:spPr>
            <a:xfrm>
              <a:off x="101328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5" name="object 66">
              <a:extLst>
                <a:ext uri="{FF2B5EF4-FFF2-40B4-BE49-F238E27FC236}">
                  <a16:creationId xmlns:a16="http://schemas.microsoft.com/office/drawing/2014/main" id="{45436C21-620E-E3DB-AF89-C3A1B7AA2727}"/>
                </a:ext>
              </a:extLst>
            </p:cNvPr>
            <p:cNvSpPr/>
            <p:nvPr/>
          </p:nvSpPr>
          <p:spPr>
            <a:xfrm>
              <a:off x="117325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6" name="object 67">
              <a:extLst>
                <a:ext uri="{FF2B5EF4-FFF2-40B4-BE49-F238E27FC236}">
                  <a16:creationId xmlns:a16="http://schemas.microsoft.com/office/drawing/2014/main" id="{773D3F8B-B554-86CD-B785-70B2247B9A3D}"/>
                </a:ext>
              </a:extLst>
            </p:cNvPr>
            <p:cNvSpPr/>
            <p:nvPr/>
          </p:nvSpPr>
          <p:spPr>
            <a:xfrm>
              <a:off x="1333233"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7" name="object 68">
              <a:extLst>
                <a:ext uri="{FF2B5EF4-FFF2-40B4-BE49-F238E27FC236}">
                  <a16:creationId xmlns:a16="http://schemas.microsoft.com/office/drawing/2014/main" id="{08C60BF7-6503-82AD-CB49-A134078AFA46}"/>
                </a:ext>
              </a:extLst>
            </p:cNvPr>
            <p:cNvSpPr/>
            <p:nvPr/>
          </p:nvSpPr>
          <p:spPr>
            <a:xfrm>
              <a:off x="149322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8" name="object 69">
              <a:extLst>
                <a:ext uri="{FF2B5EF4-FFF2-40B4-BE49-F238E27FC236}">
                  <a16:creationId xmlns:a16="http://schemas.microsoft.com/office/drawing/2014/main" id="{7D8ADCF0-CF9F-1E4D-1E70-8E5F4C7EDBD9}"/>
                </a:ext>
              </a:extLst>
            </p:cNvPr>
            <p:cNvSpPr/>
            <p:nvPr/>
          </p:nvSpPr>
          <p:spPr>
            <a:xfrm>
              <a:off x="1013280"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9" name="object 70">
              <a:extLst>
                <a:ext uri="{FF2B5EF4-FFF2-40B4-BE49-F238E27FC236}">
                  <a16:creationId xmlns:a16="http://schemas.microsoft.com/office/drawing/2014/main" id="{C6712138-1667-5B4A-9039-81639EC3319A}"/>
                </a:ext>
              </a:extLst>
            </p:cNvPr>
            <p:cNvSpPr/>
            <p:nvPr/>
          </p:nvSpPr>
          <p:spPr>
            <a:xfrm>
              <a:off x="117325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0" name="object 71">
              <a:extLst>
                <a:ext uri="{FF2B5EF4-FFF2-40B4-BE49-F238E27FC236}">
                  <a16:creationId xmlns:a16="http://schemas.microsoft.com/office/drawing/2014/main" id="{AB5B8C6E-928F-69D8-D12C-325101E645B2}"/>
                </a:ext>
              </a:extLst>
            </p:cNvPr>
            <p:cNvSpPr/>
            <p:nvPr/>
          </p:nvSpPr>
          <p:spPr>
            <a:xfrm>
              <a:off x="1333231"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1" name="object 72">
              <a:extLst>
                <a:ext uri="{FF2B5EF4-FFF2-40B4-BE49-F238E27FC236}">
                  <a16:creationId xmlns:a16="http://schemas.microsoft.com/office/drawing/2014/main" id="{993963E3-DB91-2E76-FC66-5BE241C8945B}"/>
                </a:ext>
              </a:extLst>
            </p:cNvPr>
            <p:cNvSpPr/>
            <p:nvPr/>
          </p:nvSpPr>
          <p:spPr>
            <a:xfrm>
              <a:off x="1493221"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grpSp>
      <p:sp>
        <p:nvSpPr>
          <p:cNvPr id="92" name="object 6">
            <a:extLst>
              <a:ext uri="{FF2B5EF4-FFF2-40B4-BE49-F238E27FC236}">
                <a16:creationId xmlns:a16="http://schemas.microsoft.com/office/drawing/2014/main" id="{F53074B0-0381-B37B-39FE-552E74F7AC36}"/>
              </a:ext>
            </a:extLst>
          </p:cNvPr>
          <p:cNvSpPr/>
          <p:nvPr/>
        </p:nvSpPr>
        <p:spPr>
          <a:xfrm>
            <a:off x="0" y="0"/>
            <a:ext cx="778669" cy="787718"/>
          </a:xfrm>
          <a:custGeom>
            <a:avLst/>
            <a:gdLst/>
            <a:ahLst/>
            <a:cxnLst/>
            <a:rect l="l" t="t" r="r" b="b"/>
            <a:pathLst>
              <a:path w="1038225" h="1050290">
                <a:moveTo>
                  <a:pt x="1036748" y="0"/>
                </a:moveTo>
                <a:lnTo>
                  <a:pt x="0" y="0"/>
                </a:lnTo>
                <a:lnTo>
                  <a:pt x="0" y="1049691"/>
                </a:lnTo>
                <a:lnTo>
                  <a:pt x="9282" y="1050066"/>
                </a:lnTo>
                <a:lnTo>
                  <a:pt x="93623" y="1046657"/>
                </a:lnTo>
                <a:lnTo>
                  <a:pt x="176086" y="1036606"/>
                </a:lnTo>
                <a:lnTo>
                  <a:pt x="256407" y="1020179"/>
                </a:lnTo>
                <a:lnTo>
                  <a:pt x="334320" y="997639"/>
                </a:lnTo>
                <a:lnTo>
                  <a:pt x="409562" y="969252"/>
                </a:lnTo>
                <a:lnTo>
                  <a:pt x="481868" y="935282"/>
                </a:lnTo>
                <a:lnTo>
                  <a:pt x="550972" y="895994"/>
                </a:lnTo>
                <a:lnTo>
                  <a:pt x="616611" y="851653"/>
                </a:lnTo>
                <a:lnTo>
                  <a:pt x="678520" y="802522"/>
                </a:lnTo>
                <a:lnTo>
                  <a:pt x="736433" y="748868"/>
                </a:lnTo>
                <a:lnTo>
                  <a:pt x="790087" y="690954"/>
                </a:lnTo>
                <a:lnTo>
                  <a:pt x="839217" y="629045"/>
                </a:lnTo>
                <a:lnTo>
                  <a:pt x="883558" y="563406"/>
                </a:lnTo>
                <a:lnTo>
                  <a:pt x="922845" y="494302"/>
                </a:lnTo>
                <a:lnTo>
                  <a:pt x="956815" y="421996"/>
                </a:lnTo>
                <a:lnTo>
                  <a:pt x="985201" y="346755"/>
                </a:lnTo>
                <a:lnTo>
                  <a:pt x="1007740" y="268842"/>
                </a:lnTo>
                <a:lnTo>
                  <a:pt x="1024167" y="188522"/>
                </a:lnTo>
                <a:lnTo>
                  <a:pt x="1034217" y="106061"/>
                </a:lnTo>
                <a:lnTo>
                  <a:pt x="1037626" y="21721"/>
                </a:lnTo>
                <a:lnTo>
                  <a:pt x="1036748" y="0"/>
                </a:lnTo>
              </a:path>
            </a:pathLst>
          </a:custGeom>
          <a:solidFill>
            <a:srgbClr val="5F2364"/>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object 2">
            <a:extLst>
              <a:ext uri="{FF2B5EF4-FFF2-40B4-BE49-F238E27FC236}">
                <a16:creationId xmlns:a16="http://schemas.microsoft.com/office/drawing/2014/main" id="{AD626A9F-D14D-F957-2CF2-780406E19E89}"/>
              </a:ext>
            </a:extLst>
          </p:cNvPr>
          <p:cNvSpPr/>
          <p:nvPr/>
        </p:nvSpPr>
        <p:spPr>
          <a:xfrm>
            <a:off x="8961780" y="1"/>
            <a:ext cx="1484948" cy="966311"/>
          </a:xfrm>
          <a:custGeom>
            <a:avLst/>
            <a:gdLst/>
            <a:ahLst/>
            <a:cxnLst/>
            <a:rect l="l" t="t" r="r" b="b"/>
            <a:pathLst>
              <a:path w="1979930" h="1288415">
                <a:moveTo>
                  <a:pt x="596671" y="0"/>
                </a:moveTo>
                <a:lnTo>
                  <a:pt x="142598" y="454076"/>
                </a:lnTo>
                <a:lnTo>
                  <a:pt x="115505" y="483471"/>
                </a:lnTo>
                <a:lnTo>
                  <a:pt x="91263" y="514499"/>
                </a:lnTo>
                <a:lnTo>
                  <a:pt x="69873" y="546979"/>
                </a:lnTo>
                <a:lnTo>
                  <a:pt x="51335" y="580730"/>
                </a:lnTo>
                <a:lnTo>
                  <a:pt x="35649" y="615570"/>
                </a:lnTo>
                <a:lnTo>
                  <a:pt x="12833" y="687791"/>
                </a:lnTo>
                <a:lnTo>
                  <a:pt x="1425" y="762190"/>
                </a:lnTo>
                <a:lnTo>
                  <a:pt x="0" y="799752"/>
                </a:lnTo>
                <a:lnTo>
                  <a:pt x="1425" y="837315"/>
                </a:lnTo>
                <a:lnTo>
                  <a:pt x="12833" y="911714"/>
                </a:lnTo>
                <a:lnTo>
                  <a:pt x="35649" y="983936"/>
                </a:lnTo>
                <a:lnTo>
                  <a:pt x="51335" y="1018777"/>
                </a:lnTo>
                <a:lnTo>
                  <a:pt x="69873" y="1052529"/>
                </a:lnTo>
                <a:lnTo>
                  <a:pt x="91263" y="1085011"/>
                </a:lnTo>
                <a:lnTo>
                  <a:pt x="115505" y="1116041"/>
                </a:lnTo>
                <a:lnTo>
                  <a:pt x="142598" y="1145438"/>
                </a:lnTo>
                <a:lnTo>
                  <a:pt x="171995" y="1172532"/>
                </a:lnTo>
                <a:lnTo>
                  <a:pt x="203025" y="1196774"/>
                </a:lnTo>
                <a:lnTo>
                  <a:pt x="235507" y="1218163"/>
                </a:lnTo>
                <a:lnTo>
                  <a:pt x="269259" y="1236701"/>
                </a:lnTo>
                <a:lnTo>
                  <a:pt x="304100" y="1252387"/>
                </a:lnTo>
                <a:lnTo>
                  <a:pt x="376322" y="1275203"/>
                </a:lnTo>
                <a:lnTo>
                  <a:pt x="450722" y="1286611"/>
                </a:lnTo>
                <a:lnTo>
                  <a:pt x="488284" y="1288037"/>
                </a:lnTo>
                <a:lnTo>
                  <a:pt x="525847" y="1286611"/>
                </a:lnTo>
                <a:lnTo>
                  <a:pt x="600246" y="1275203"/>
                </a:lnTo>
                <a:lnTo>
                  <a:pt x="672466" y="1252387"/>
                </a:lnTo>
                <a:lnTo>
                  <a:pt x="707306" y="1236701"/>
                </a:lnTo>
                <a:lnTo>
                  <a:pt x="741057" y="1218163"/>
                </a:lnTo>
                <a:lnTo>
                  <a:pt x="773537" y="1196774"/>
                </a:lnTo>
                <a:lnTo>
                  <a:pt x="804566" y="1172532"/>
                </a:lnTo>
                <a:lnTo>
                  <a:pt x="833961" y="1145438"/>
                </a:lnTo>
                <a:lnTo>
                  <a:pt x="1979399" y="0"/>
                </a:lnTo>
                <a:lnTo>
                  <a:pt x="596671" y="0"/>
                </a:lnTo>
              </a:path>
            </a:pathLst>
          </a:custGeom>
          <a:solidFill>
            <a:srgbClr val="FFFFFF"/>
          </a:solidFill>
          <a:effectLst>
            <a:outerShdw blurRad="317500" dist="50800" dir="5400000" algn="ctr" rotWithShape="0">
              <a:schemeClr val="tx1">
                <a:alpha val="20000"/>
              </a:schemeClr>
            </a:outerShdw>
          </a:effectLst>
        </p:spPr>
        <p:txBody>
          <a:bodyPr wrap="square" lIns="0" tIns="0" rIns="0" bIns="0" rtlCol="0"/>
          <a:lstStyle/>
          <a:p>
            <a:endParaRPr sz="1350"/>
          </a:p>
        </p:txBody>
      </p:sp>
      <p:sp>
        <p:nvSpPr>
          <p:cNvPr id="3" name="Rectangle 2">
            <a:extLst>
              <a:ext uri="{FF2B5EF4-FFF2-40B4-BE49-F238E27FC236}">
                <a16:creationId xmlns:a16="http://schemas.microsoft.com/office/drawing/2014/main" id="{1866E7A1-D95A-A329-DE33-E68C4723E23A}"/>
              </a:ext>
            </a:extLst>
          </p:cNvPr>
          <p:cNvSpPr/>
          <p:nvPr/>
        </p:nvSpPr>
        <p:spPr>
          <a:xfrm>
            <a:off x="330092" y="1026069"/>
            <a:ext cx="10337907" cy="1200329"/>
          </a:xfrm>
          <a:prstGeom prst="rect">
            <a:avLst/>
          </a:prstGeom>
          <a:noFill/>
          <a:ln w="28575" cap="flat" cmpd="sng" algn="ctr">
            <a:noFill/>
            <a:prstDash val="solid"/>
          </a:ln>
          <a:effectLst/>
        </p:spPr>
        <p:txBody>
          <a:bodyPr lIns="900000" rIns="360000" rtlCol="0" anchor="ctr"/>
          <a:lstStyle/>
          <a:p>
            <a:pPr algn="just" defTabSz="913943" eaLnBrk="0" hangingPunct="0">
              <a:defRPr/>
            </a:pPr>
            <a:r>
              <a:rPr lang="es-MX" sz="1400" i="1" kern="0" dirty="0">
                <a:solidFill>
                  <a:srgbClr val="5F2364"/>
                </a:solidFill>
                <a:latin typeface="Century Gothic" panose="020B0502020202020204" pitchFamily="34" charset="0"/>
                <a:cs typeface="Tahoma" pitchFamily="34" charset="0"/>
              </a:rPr>
              <a:t>Los componentes de la IA generativa permiten la creación de resultados nuevos y diversos a través de algoritmos y modelos avanzados, permitiendo a las  Instituciones explorar nuevas perspectivas y posibilidades en la búsqueda de innovación y creatividad.</a:t>
            </a:r>
          </a:p>
          <a:p>
            <a:pPr algn="just" defTabSz="913943" eaLnBrk="0" hangingPunct="0">
              <a:defRPr/>
            </a:pPr>
            <a:endParaRPr lang="es-MX" sz="1400" i="1" kern="0" dirty="0">
              <a:solidFill>
                <a:srgbClr val="5F2364"/>
              </a:solidFill>
              <a:latin typeface="Century Gothic" panose="020B0502020202020204" pitchFamily="34" charset="0"/>
              <a:cs typeface="Tahoma" pitchFamily="34" charset="0"/>
            </a:endParaRPr>
          </a:p>
        </p:txBody>
      </p:sp>
      <p:grpSp>
        <p:nvGrpSpPr>
          <p:cNvPr id="140" name="Group 139">
            <a:extLst>
              <a:ext uri="{FF2B5EF4-FFF2-40B4-BE49-F238E27FC236}">
                <a16:creationId xmlns:a16="http://schemas.microsoft.com/office/drawing/2014/main" id="{D22DAAA2-4A51-C64D-1623-FFB7D8FCAE5A}"/>
              </a:ext>
            </a:extLst>
          </p:cNvPr>
          <p:cNvGrpSpPr/>
          <p:nvPr/>
        </p:nvGrpSpPr>
        <p:grpSpPr>
          <a:xfrm>
            <a:off x="1411484" y="2384589"/>
            <a:ext cx="10004032" cy="4312086"/>
            <a:chOff x="740610" y="1822326"/>
            <a:chExt cx="10004032" cy="4312086"/>
          </a:xfrm>
        </p:grpSpPr>
        <p:sp>
          <p:nvSpPr>
            <p:cNvPr id="8" name="Content Placeholder 4">
              <a:extLst>
                <a:ext uri="{FF2B5EF4-FFF2-40B4-BE49-F238E27FC236}">
                  <a16:creationId xmlns:a16="http://schemas.microsoft.com/office/drawing/2014/main" id="{D811122D-6D27-01FA-5856-907C509CC221}"/>
                </a:ext>
              </a:extLst>
            </p:cNvPr>
            <p:cNvSpPr txBox="1">
              <a:spLocks/>
            </p:cNvSpPr>
            <p:nvPr/>
          </p:nvSpPr>
          <p:spPr>
            <a:xfrm>
              <a:off x="834736" y="2575711"/>
              <a:ext cx="2096049" cy="412982"/>
            </a:xfrm>
            <a:prstGeom prst="rect">
              <a:avLst/>
            </a:prstGeom>
          </p:spPr>
          <p:txBody>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lvl="0" indent="0">
                <a:buClr>
                  <a:srgbClr val="FFE600"/>
                </a:buClr>
                <a:buNone/>
                <a:defRPr/>
              </a:pPr>
              <a:r>
                <a:rPr lang="es-MX" sz="1400" b="1" dirty="0">
                  <a:solidFill>
                    <a:srgbClr val="5F2364"/>
                  </a:solidFill>
                  <a:latin typeface="Century Gothic" panose="020B0502020202020204" pitchFamily="34" charset="0"/>
                </a:rPr>
                <a:t>Preparación de datos</a:t>
              </a:r>
              <a:endParaRPr lang="es-ES" sz="1400" b="1" dirty="0">
                <a:solidFill>
                  <a:srgbClr val="5F2364"/>
                </a:solidFill>
                <a:latin typeface="Century Gothic" panose="020B0502020202020204" pitchFamily="34" charset="0"/>
              </a:endParaRPr>
            </a:p>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lang="es-ES" sz="1400" b="1" dirty="0">
                <a:solidFill>
                  <a:srgbClr val="5F2364"/>
                </a:solidFill>
                <a:latin typeface="Century Gothic" panose="020B0502020202020204" pitchFamily="34" charset="0"/>
              </a:endParaRPr>
            </a:p>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lang="es-ES" sz="1400" b="1" dirty="0">
                <a:solidFill>
                  <a:srgbClr val="5F2364"/>
                </a:solidFill>
                <a:latin typeface="Century Gothic" panose="020B0502020202020204" pitchFamily="34" charset="0"/>
              </a:endParaRPr>
            </a:p>
            <a:p>
              <a:pPr marL="534639" marR="0" lvl="1" indent="-267319"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sp>
          <p:nvSpPr>
            <p:cNvPr id="28" name="Rectangle 27">
              <a:extLst>
                <a:ext uri="{FF2B5EF4-FFF2-40B4-BE49-F238E27FC236}">
                  <a16:creationId xmlns:a16="http://schemas.microsoft.com/office/drawing/2014/main" id="{64A96CC3-530E-D3A7-BF6E-205CD247F8BF}"/>
                </a:ext>
              </a:extLst>
            </p:cNvPr>
            <p:cNvSpPr/>
            <p:nvPr/>
          </p:nvSpPr>
          <p:spPr bwMode="auto">
            <a:xfrm>
              <a:off x="740610" y="1822329"/>
              <a:ext cx="2329742" cy="4244808"/>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107" name="TextBox 106">
              <a:extLst>
                <a:ext uri="{FF2B5EF4-FFF2-40B4-BE49-F238E27FC236}">
                  <a16:creationId xmlns:a16="http://schemas.microsoft.com/office/drawing/2014/main" id="{0434E70C-F86F-E7A7-B3C2-52B74E98A540}"/>
                </a:ext>
              </a:extLst>
            </p:cNvPr>
            <p:cNvSpPr txBox="1"/>
            <p:nvPr/>
          </p:nvSpPr>
          <p:spPr>
            <a:xfrm>
              <a:off x="778669" y="3169320"/>
              <a:ext cx="2208184" cy="553998"/>
            </a:xfrm>
            <a:prstGeom prst="rect">
              <a:avLst/>
            </a:prstGeom>
            <a:noFill/>
          </p:spPr>
          <p:txBody>
            <a:bodyPr wrap="square">
              <a:spAutoFit/>
            </a:bodyPr>
            <a:lstStyle/>
            <a:p>
              <a:pPr marL="171450" indent="-171450" algn="just" defTabSz="913029">
                <a:spcBef>
                  <a:spcPts val="600"/>
                </a:spcBef>
                <a:buClr>
                  <a:srgbClr val="5F2364"/>
                </a:buClr>
                <a:buSzPct val="100000"/>
                <a:buFont typeface="Century Gothic" panose="020B0502020202020204" pitchFamily="34" charset="0"/>
                <a:buChar char="►"/>
                <a:defRPr/>
              </a:pPr>
              <a:r>
                <a:rPr lang="es-MX" sz="1000" kern="0" dirty="0">
                  <a:latin typeface="Century Gothic" panose="020B0502020202020204" pitchFamily="34" charset="0"/>
                </a:rPr>
                <a:t>Información diversa y de alta calidad como base para la IA generativa.</a:t>
              </a:r>
            </a:p>
          </p:txBody>
        </p:sp>
        <p:sp>
          <p:nvSpPr>
            <p:cNvPr id="114" name="TextBox 113">
              <a:extLst>
                <a:ext uri="{FF2B5EF4-FFF2-40B4-BE49-F238E27FC236}">
                  <a16:creationId xmlns:a16="http://schemas.microsoft.com/office/drawing/2014/main" id="{7F2EFE56-AA9C-EEED-4273-D8B202C585C6}"/>
                </a:ext>
              </a:extLst>
            </p:cNvPr>
            <p:cNvSpPr txBox="1"/>
            <p:nvPr/>
          </p:nvSpPr>
          <p:spPr>
            <a:xfrm>
              <a:off x="772380" y="3890266"/>
              <a:ext cx="2208184" cy="707886"/>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Diseñar la arquitectura del uso de insumos basándose en las fuentes de datos de entrenamiento identificadas.</a:t>
              </a:r>
            </a:p>
          </p:txBody>
        </p:sp>
        <p:sp>
          <p:nvSpPr>
            <p:cNvPr id="115" name="TextBox 114">
              <a:extLst>
                <a:ext uri="{FF2B5EF4-FFF2-40B4-BE49-F238E27FC236}">
                  <a16:creationId xmlns:a16="http://schemas.microsoft.com/office/drawing/2014/main" id="{53D1EB19-1C89-B543-C7DD-9133CB803EF4}"/>
                </a:ext>
              </a:extLst>
            </p:cNvPr>
            <p:cNvSpPr txBox="1"/>
            <p:nvPr/>
          </p:nvSpPr>
          <p:spPr>
            <a:xfrm>
              <a:off x="772595" y="4698336"/>
              <a:ext cx="2207753" cy="1015663"/>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Evaluar y preprocesar los datos antes del modelado para garantizar la precisión y fiabilidad de los resultados, utilizando técnicas eficaces de limpieza de datos.</a:t>
              </a:r>
            </a:p>
          </p:txBody>
        </p:sp>
        <p:sp>
          <p:nvSpPr>
            <p:cNvPr id="125" name="Content Placeholder 4">
              <a:extLst>
                <a:ext uri="{FF2B5EF4-FFF2-40B4-BE49-F238E27FC236}">
                  <a16:creationId xmlns:a16="http://schemas.microsoft.com/office/drawing/2014/main" id="{8D564592-F043-E1DA-DB7B-AD0ED8AD5A47}"/>
                </a:ext>
              </a:extLst>
            </p:cNvPr>
            <p:cNvSpPr txBox="1">
              <a:spLocks/>
            </p:cNvSpPr>
            <p:nvPr/>
          </p:nvSpPr>
          <p:spPr>
            <a:xfrm>
              <a:off x="3399316" y="2571142"/>
              <a:ext cx="2096049" cy="412982"/>
            </a:xfrm>
            <a:prstGeom prst="rect">
              <a:avLst/>
            </a:prstGeom>
          </p:spPr>
          <p:txBody>
            <a:bodyPr/>
            <a:lstStyle>
              <a:defPPr>
                <a:defRPr lang="es-CO"/>
              </a:defPPr>
              <a:lvl1pPr lvl="0" indent="0" defTabSz="685434">
                <a:spcBef>
                  <a:spcPct val="20000"/>
                </a:spcBef>
                <a:buClr>
                  <a:srgbClr val="FFE600"/>
                </a:buClr>
                <a:buSzPct val="110000"/>
                <a:buFont typeface="EYInterstate Light" panose="02000506000000020004" pitchFamily="2" charset="0"/>
                <a:buNone/>
                <a:defRPr sz="1400" b="1">
                  <a:solidFill>
                    <a:srgbClr val="5F2364"/>
                  </a:solidFill>
                  <a:latin typeface="Century Gothic" panose="020B0502020202020204" pitchFamily="34" charset="0"/>
                </a:defRPr>
              </a:lvl1pPr>
              <a:lvl2pPr marL="534639" marR="0" lvl="1" indent="-267319" defTabSz="685434" fontAlgn="auto">
                <a:lnSpc>
                  <a:spcPct val="100000"/>
                </a:lnSpc>
                <a:spcBef>
                  <a:spcPct val="20000"/>
                </a:spcBef>
                <a:spcAft>
                  <a:spcPts val="0"/>
                </a:spcAft>
                <a:buClr>
                  <a:srgbClr val="FFE600"/>
                </a:buClr>
                <a:buSzPct val="110000"/>
                <a:buFont typeface="EYInterstate Light" panose="02000506000000020004" pitchFamily="2" charset="0"/>
                <a:buChar char="•"/>
                <a:tabLst/>
                <a:defRPr kumimoji="0" sz="1400" b="0" i="0" u="none" strike="noStrike" cap="none" spc="0" normalizeH="0" baseline="0">
                  <a:ln>
                    <a:noFill/>
                  </a:ln>
                  <a:solidFill>
                    <a:prstClr val="white"/>
                  </a:solidFill>
                  <a:effectLst/>
                  <a:uLnTx/>
                  <a:uFillTx/>
                  <a:latin typeface="Century Gothic" panose="020B0502020202020204" pitchFamily="34" charset="0"/>
                </a:defRPr>
              </a:lvl2pPr>
              <a:lvl3pPr marL="801958" indent="-267319" defTabSz="685434">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3pPr>
              <a:lvl4pPr marL="1069277" indent="-267319" defTabSz="685434">
                <a:spcBef>
                  <a:spcPct val="20000"/>
                </a:spcBef>
                <a:buClr>
                  <a:schemeClr val="tx2"/>
                </a:buClr>
                <a:buSzPct val="110000"/>
                <a:buFont typeface="EYInterstate Light" panose="02000506000000020004" pitchFamily="2" charset="0"/>
                <a:buChar char="•"/>
                <a:defRPr sz="1400">
                  <a:solidFill>
                    <a:schemeClr val="bg1"/>
                  </a:solidFill>
                  <a:latin typeface="EYInterstate Light" panose="02000506000000020004" pitchFamily="2" charset="0"/>
                </a:defRPr>
              </a:lvl4pPr>
              <a:lvl5pPr marL="1336597" indent="-267319" defTabSz="685434">
                <a:spcBef>
                  <a:spcPct val="20000"/>
                </a:spcBef>
                <a:buClr>
                  <a:schemeClr val="tx2"/>
                </a:buClr>
                <a:buSzPct val="110000"/>
                <a:buFont typeface="EYInterstate Light" panose="02000506000000020004" pitchFamily="2" charset="0"/>
                <a:buChar char="•"/>
                <a:defRPr sz="1200">
                  <a:solidFill>
                    <a:schemeClr val="bg1"/>
                  </a:solidFill>
                  <a:latin typeface="EYInterstate Light" panose="02000506000000020004" pitchFamily="2" charset="0"/>
                </a:defRPr>
              </a:lvl5pPr>
              <a:lvl6pPr marL="1884944" indent="-171359" defTabSz="685434">
                <a:spcBef>
                  <a:spcPct val="20000"/>
                </a:spcBef>
                <a:buFont typeface="Arial" pitchFamily="34" charset="0"/>
                <a:buChar char="•"/>
                <a:defRPr sz="1499"/>
              </a:lvl6pPr>
              <a:lvl7pPr marL="2227661" indent="-171359" defTabSz="685434">
                <a:spcBef>
                  <a:spcPct val="20000"/>
                </a:spcBef>
                <a:buFont typeface="Arial" pitchFamily="34" charset="0"/>
                <a:buChar char="•"/>
                <a:defRPr sz="1499"/>
              </a:lvl7pPr>
              <a:lvl8pPr marL="2570378" indent="-171359" defTabSz="685434">
                <a:spcBef>
                  <a:spcPct val="20000"/>
                </a:spcBef>
                <a:buFont typeface="Arial" pitchFamily="34" charset="0"/>
                <a:buChar char="•"/>
                <a:defRPr sz="1499"/>
              </a:lvl8pPr>
              <a:lvl9pPr marL="2913096" indent="-171359" defTabSz="685434">
                <a:spcBef>
                  <a:spcPct val="20000"/>
                </a:spcBef>
                <a:buFont typeface="Arial" pitchFamily="34" charset="0"/>
                <a:buChar char="•"/>
                <a:defRPr sz="1499"/>
              </a:lvl9pPr>
            </a:lstStyle>
            <a:p>
              <a:r>
                <a:rPr lang="es-MX" dirty="0"/>
                <a:t>Selección del modelo</a:t>
              </a:r>
              <a:endParaRPr lang="es-ES" dirty="0"/>
            </a:p>
            <a:p>
              <a:endParaRPr lang="es-ES" dirty="0"/>
            </a:p>
            <a:p>
              <a:pPr lvl="1"/>
              <a:endParaRPr lang="en-US" dirty="0"/>
            </a:p>
          </p:txBody>
        </p:sp>
        <p:sp>
          <p:nvSpPr>
            <p:cNvPr id="126" name="Content Placeholder 4">
              <a:extLst>
                <a:ext uri="{FF2B5EF4-FFF2-40B4-BE49-F238E27FC236}">
                  <a16:creationId xmlns:a16="http://schemas.microsoft.com/office/drawing/2014/main" id="{10F8A14D-B73E-BB19-1D7E-C6231A6A2500}"/>
                </a:ext>
              </a:extLst>
            </p:cNvPr>
            <p:cNvSpPr txBox="1">
              <a:spLocks/>
            </p:cNvSpPr>
            <p:nvPr/>
          </p:nvSpPr>
          <p:spPr>
            <a:xfrm>
              <a:off x="5876326" y="2571142"/>
              <a:ext cx="2047580" cy="412982"/>
            </a:xfrm>
            <a:prstGeom prst="rect">
              <a:avLst/>
            </a:prstGeom>
          </p:spPr>
          <p:txBody>
            <a:bodyPr/>
            <a:lstStyle>
              <a:defPPr>
                <a:defRPr lang="es-CO"/>
              </a:defPPr>
              <a:lvl1pPr lvl="0" indent="0" defTabSz="685434">
                <a:spcBef>
                  <a:spcPct val="20000"/>
                </a:spcBef>
                <a:buClr>
                  <a:srgbClr val="FFE600"/>
                </a:buClr>
                <a:buSzPct val="110000"/>
                <a:buFont typeface="EYInterstate Light" panose="02000506000000020004" pitchFamily="2" charset="0"/>
                <a:buNone/>
                <a:defRPr sz="1400" b="1">
                  <a:solidFill>
                    <a:srgbClr val="5F2364"/>
                  </a:solidFill>
                  <a:latin typeface="Century Gothic" panose="020B0502020202020204" pitchFamily="34" charset="0"/>
                </a:defRPr>
              </a:lvl1pPr>
              <a:lvl2pPr marL="534639" marR="0" lvl="1" indent="-267319" defTabSz="685434" fontAlgn="auto">
                <a:lnSpc>
                  <a:spcPct val="100000"/>
                </a:lnSpc>
                <a:spcBef>
                  <a:spcPct val="20000"/>
                </a:spcBef>
                <a:spcAft>
                  <a:spcPts val="0"/>
                </a:spcAft>
                <a:buClr>
                  <a:srgbClr val="FFE600"/>
                </a:buClr>
                <a:buSzPct val="110000"/>
                <a:buFont typeface="EYInterstate Light" panose="02000506000000020004" pitchFamily="2" charset="0"/>
                <a:buChar char="•"/>
                <a:tabLst/>
                <a:defRPr kumimoji="0" sz="1400" b="0" i="0" u="none" strike="noStrike" cap="none" spc="0" normalizeH="0" baseline="0">
                  <a:ln>
                    <a:noFill/>
                  </a:ln>
                  <a:solidFill>
                    <a:prstClr val="white"/>
                  </a:solidFill>
                  <a:effectLst/>
                  <a:uLnTx/>
                  <a:uFillTx/>
                  <a:latin typeface="Century Gothic" panose="020B0502020202020204" pitchFamily="34" charset="0"/>
                </a:defRPr>
              </a:lvl2pPr>
              <a:lvl3pPr marL="801958" indent="-267319" defTabSz="685434">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3pPr>
              <a:lvl4pPr marL="1069277" indent="-267319" defTabSz="685434">
                <a:spcBef>
                  <a:spcPct val="20000"/>
                </a:spcBef>
                <a:buClr>
                  <a:schemeClr val="tx2"/>
                </a:buClr>
                <a:buSzPct val="110000"/>
                <a:buFont typeface="EYInterstate Light" panose="02000506000000020004" pitchFamily="2" charset="0"/>
                <a:buChar char="•"/>
                <a:defRPr sz="1400">
                  <a:solidFill>
                    <a:schemeClr val="bg1"/>
                  </a:solidFill>
                  <a:latin typeface="EYInterstate Light" panose="02000506000000020004" pitchFamily="2" charset="0"/>
                </a:defRPr>
              </a:lvl4pPr>
              <a:lvl5pPr marL="1336597" indent="-267319" defTabSz="685434">
                <a:spcBef>
                  <a:spcPct val="20000"/>
                </a:spcBef>
                <a:buClr>
                  <a:schemeClr val="tx2"/>
                </a:buClr>
                <a:buSzPct val="110000"/>
                <a:buFont typeface="EYInterstate Light" panose="02000506000000020004" pitchFamily="2" charset="0"/>
                <a:buChar char="•"/>
                <a:defRPr sz="1200">
                  <a:solidFill>
                    <a:schemeClr val="bg1"/>
                  </a:solidFill>
                  <a:latin typeface="EYInterstate Light" panose="02000506000000020004" pitchFamily="2" charset="0"/>
                </a:defRPr>
              </a:lvl5pPr>
              <a:lvl6pPr marL="1884944" indent="-171359" defTabSz="685434">
                <a:spcBef>
                  <a:spcPct val="20000"/>
                </a:spcBef>
                <a:buFont typeface="Arial" pitchFamily="34" charset="0"/>
                <a:buChar char="•"/>
                <a:defRPr sz="1499"/>
              </a:lvl6pPr>
              <a:lvl7pPr marL="2227661" indent="-171359" defTabSz="685434">
                <a:spcBef>
                  <a:spcPct val="20000"/>
                </a:spcBef>
                <a:buFont typeface="Arial" pitchFamily="34" charset="0"/>
                <a:buChar char="•"/>
                <a:defRPr sz="1499"/>
              </a:lvl7pPr>
              <a:lvl8pPr marL="2570378" indent="-171359" defTabSz="685434">
                <a:spcBef>
                  <a:spcPct val="20000"/>
                </a:spcBef>
                <a:buFont typeface="Arial" pitchFamily="34" charset="0"/>
                <a:buChar char="•"/>
                <a:defRPr sz="1499"/>
              </a:lvl8pPr>
              <a:lvl9pPr marL="2913096" indent="-171359" defTabSz="685434">
                <a:spcBef>
                  <a:spcPct val="20000"/>
                </a:spcBef>
                <a:buFont typeface="Arial" pitchFamily="34" charset="0"/>
                <a:buChar char="•"/>
                <a:defRPr sz="1499"/>
              </a:lvl9pPr>
            </a:lstStyle>
            <a:p>
              <a:pPr algn="ctr"/>
              <a:r>
                <a:rPr lang="es-MX" dirty="0"/>
                <a:t>Entrenamiento y </a:t>
              </a:r>
              <a:r>
                <a:rPr lang="en-US" dirty="0" err="1"/>
                <a:t>ajustes</a:t>
              </a:r>
              <a:endParaRPr lang="es-ES" dirty="0"/>
            </a:p>
            <a:p>
              <a:pPr algn="ctr"/>
              <a:endParaRPr lang="es-ES" dirty="0"/>
            </a:p>
            <a:p>
              <a:pPr lvl="1" algn="ctr"/>
              <a:endParaRPr lang="en-US" dirty="0"/>
            </a:p>
          </p:txBody>
        </p:sp>
        <p:sp>
          <p:nvSpPr>
            <p:cNvPr id="127" name="Content Placeholder 4">
              <a:extLst>
                <a:ext uri="{FF2B5EF4-FFF2-40B4-BE49-F238E27FC236}">
                  <a16:creationId xmlns:a16="http://schemas.microsoft.com/office/drawing/2014/main" id="{3CD07CD0-2125-7E82-1E8E-E67D58926784}"/>
                </a:ext>
              </a:extLst>
            </p:cNvPr>
            <p:cNvSpPr txBox="1">
              <a:spLocks/>
            </p:cNvSpPr>
            <p:nvPr/>
          </p:nvSpPr>
          <p:spPr>
            <a:xfrm>
              <a:off x="8206068" y="2571142"/>
              <a:ext cx="2538574" cy="243704"/>
            </a:xfrm>
            <a:prstGeom prst="rect">
              <a:avLst/>
            </a:prstGeom>
          </p:spPr>
          <p:txBody>
            <a:bodyPr/>
            <a:lstStyle>
              <a:defPPr>
                <a:defRPr lang="es-CO"/>
              </a:defPPr>
              <a:lvl1pPr lvl="0" indent="0" defTabSz="685434">
                <a:spcBef>
                  <a:spcPct val="20000"/>
                </a:spcBef>
                <a:buClr>
                  <a:srgbClr val="FFE600"/>
                </a:buClr>
                <a:buSzPct val="110000"/>
                <a:buFont typeface="EYInterstate Light" panose="02000506000000020004" pitchFamily="2" charset="0"/>
                <a:buNone/>
                <a:defRPr sz="1400" b="1">
                  <a:solidFill>
                    <a:srgbClr val="5F2364"/>
                  </a:solidFill>
                  <a:latin typeface="Century Gothic" panose="020B0502020202020204" pitchFamily="34" charset="0"/>
                </a:defRPr>
              </a:lvl1pPr>
              <a:lvl2pPr marL="534639" marR="0" lvl="1" indent="-267319" defTabSz="685434" fontAlgn="auto">
                <a:lnSpc>
                  <a:spcPct val="100000"/>
                </a:lnSpc>
                <a:spcBef>
                  <a:spcPct val="20000"/>
                </a:spcBef>
                <a:spcAft>
                  <a:spcPts val="0"/>
                </a:spcAft>
                <a:buClr>
                  <a:srgbClr val="FFE600"/>
                </a:buClr>
                <a:buSzPct val="110000"/>
                <a:buFont typeface="EYInterstate Light" panose="02000506000000020004" pitchFamily="2" charset="0"/>
                <a:buChar char="•"/>
                <a:tabLst/>
                <a:defRPr kumimoji="0" sz="1400" b="0" i="0" u="none" strike="noStrike" cap="none" spc="0" normalizeH="0" baseline="0">
                  <a:ln>
                    <a:noFill/>
                  </a:ln>
                  <a:solidFill>
                    <a:prstClr val="white"/>
                  </a:solidFill>
                  <a:effectLst/>
                  <a:uLnTx/>
                  <a:uFillTx/>
                  <a:latin typeface="Century Gothic" panose="020B0502020202020204" pitchFamily="34" charset="0"/>
                </a:defRPr>
              </a:lvl2pPr>
              <a:lvl3pPr marL="801958" indent="-267319" defTabSz="685434">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3pPr>
              <a:lvl4pPr marL="1069277" indent="-267319" defTabSz="685434">
                <a:spcBef>
                  <a:spcPct val="20000"/>
                </a:spcBef>
                <a:buClr>
                  <a:schemeClr val="tx2"/>
                </a:buClr>
                <a:buSzPct val="110000"/>
                <a:buFont typeface="EYInterstate Light" panose="02000506000000020004" pitchFamily="2" charset="0"/>
                <a:buChar char="•"/>
                <a:defRPr sz="1400">
                  <a:solidFill>
                    <a:schemeClr val="bg1"/>
                  </a:solidFill>
                  <a:latin typeface="EYInterstate Light" panose="02000506000000020004" pitchFamily="2" charset="0"/>
                </a:defRPr>
              </a:lvl4pPr>
              <a:lvl5pPr marL="1336597" indent="-267319" defTabSz="685434">
                <a:spcBef>
                  <a:spcPct val="20000"/>
                </a:spcBef>
                <a:buClr>
                  <a:schemeClr val="tx2"/>
                </a:buClr>
                <a:buSzPct val="110000"/>
                <a:buFont typeface="EYInterstate Light" panose="02000506000000020004" pitchFamily="2" charset="0"/>
                <a:buChar char="•"/>
                <a:defRPr sz="1200">
                  <a:solidFill>
                    <a:schemeClr val="bg1"/>
                  </a:solidFill>
                  <a:latin typeface="EYInterstate Light" panose="02000506000000020004" pitchFamily="2" charset="0"/>
                </a:defRPr>
              </a:lvl5pPr>
              <a:lvl6pPr marL="1884944" indent="-171359" defTabSz="685434">
                <a:spcBef>
                  <a:spcPct val="20000"/>
                </a:spcBef>
                <a:buFont typeface="Arial" pitchFamily="34" charset="0"/>
                <a:buChar char="•"/>
                <a:defRPr sz="1499"/>
              </a:lvl6pPr>
              <a:lvl7pPr marL="2227661" indent="-171359" defTabSz="685434">
                <a:spcBef>
                  <a:spcPct val="20000"/>
                </a:spcBef>
                <a:buFont typeface="Arial" pitchFamily="34" charset="0"/>
                <a:buChar char="•"/>
                <a:defRPr sz="1499"/>
              </a:lvl7pPr>
              <a:lvl8pPr marL="2570378" indent="-171359" defTabSz="685434">
                <a:spcBef>
                  <a:spcPct val="20000"/>
                </a:spcBef>
                <a:buFont typeface="Arial" pitchFamily="34" charset="0"/>
                <a:buChar char="•"/>
                <a:defRPr sz="1499"/>
              </a:lvl8pPr>
              <a:lvl9pPr marL="2913096" indent="-171359" defTabSz="685434">
                <a:spcBef>
                  <a:spcPct val="20000"/>
                </a:spcBef>
                <a:buFont typeface="Arial" pitchFamily="34" charset="0"/>
                <a:buChar char="•"/>
                <a:defRPr sz="1499"/>
              </a:lvl9pPr>
            </a:lstStyle>
            <a:p>
              <a:r>
                <a:rPr lang="es-MX" dirty="0"/>
                <a:t>Inferencia y evaluación</a:t>
              </a:r>
              <a:endParaRPr lang="es-ES" dirty="0"/>
            </a:p>
            <a:p>
              <a:endParaRPr lang="es-ES" dirty="0"/>
            </a:p>
            <a:p>
              <a:pPr lvl="1"/>
              <a:endParaRPr lang="en-US" dirty="0"/>
            </a:p>
          </p:txBody>
        </p:sp>
        <p:sp>
          <p:nvSpPr>
            <p:cNvPr id="128" name="TextBox 127">
              <a:extLst>
                <a:ext uri="{FF2B5EF4-FFF2-40B4-BE49-F238E27FC236}">
                  <a16:creationId xmlns:a16="http://schemas.microsoft.com/office/drawing/2014/main" id="{955AF199-C9CB-59A0-DFA2-91EB8DE95360}"/>
                </a:ext>
              </a:extLst>
            </p:cNvPr>
            <p:cNvSpPr txBox="1"/>
            <p:nvPr/>
          </p:nvSpPr>
          <p:spPr>
            <a:xfrm>
              <a:off x="3316095" y="3149504"/>
              <a:ext cx="2179270" cy="892552"/>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Determinar la modalidad de la IA generativa (texto, código, imagen, audio, vídeo, mixta) y diseñar la arquitectura del modelo.</a:t>
              </a:r>
            </a:p>
          </p:txBody>
        </p:sp>
        <p:sp>
          <p:nvSpPr>
            <p:cNvPr id="129" name="TextBox 128">
              <a:extLst>
                <a:ext uri="{FF2B5EF4-FFF2-40B4-BE49-F238E27FC236}">
                  <a16:creationId xmlns:a16="http://schemas.microsoft.com/office/drawing/2014/main" id="{68ABBD79-84EE-1835-CB28-DBEBDFF73E3C}"/>
                </a:ext>
              </a:extLst>
            </p:cNvPr>
            <p:cNvSpPr txBox="1"/>
            <p:nvPr/>
          </p:nvSpPr>
          <p:spPr>
            <a:xfrm>
              <a:off x="3316095" y="4184115"/>
              <a:ext cx="2179270" cy="861774"/>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Utilizar técnicas de modelado complejas, como el aprendizaje profundo, modelos probabilísticos, redes neuronales, etc.</a:t>
              </a:r>
            </a:p>
          </p:txBody>
        </p:sp>
        <p:sp>
          <p:nvSpPr>
            <p:cNvPr id="130" name="TextBox 129">
              <a:extLst>
                <a:ext uri="{FF2B5EF4-FFF2-40B4-BE49-F238E27FC236}">
                  <a16:creationId xmlns:a16="http://schemas.microsoft.com/office/drawing/2014/main" id="{5CE3D8CC-F893-04D7-C628-B12A45A9B8C8}"/>
                </a:ext>
              </a:extLst>
            </p:cNvPr>
            <p:cNvSpPr txBox="1"/>
            <p:nvPr/>
          </p:nvSpPr>
          <p:spPr>
            <a:xfrm>
              <a:off x="3277254" y="5096766"/>
              <a:ext cx="2179270" cy="861774"/>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Determinar los requisitos de infraestructura computacional y de calidad como parte del proceso de modelado.</a:t>
              </a:r>
            </a:p>
          </p:txBody>
        </p:sp>
        <p:sp>
          <p:nvSpPr>
            <p:cNvPr id="131" name="TextBox 130">
              <a:extLst>
                <a:ext uri="{FF2B5EF4-FFF2-40B4-BE49-F238E27FC236}">
                  <a16:creationId xmlns:a16="http://schemas.microsoft.com/office/drawing/2014/main" id="{3CEB7628-6F82-80FA-E2F9-98C350D7F9BF}"/>
                </a:ext>
              </a:extLst>
            </p:cNvPr>
            <p:cNvSpPr txBox="1"/>
            <p:nvPr/>
          </p:nvSpPr>
          <p:spPr>
            <a:xfrm>
              <a:off x="5727381" y="3163066"/>
              <a:ext cx="2196525" cy="861774"/>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Documentar una guía  con del proceso de mantenimiento, incluyendo recalibración y ajustes del modelo.</a:t>
              </a:r>
            </a:p>
          </p:txBody>
        </p:sp>
        <p:sp>
          <p:nvSpPr>
            <p:cNvPr id="132" name="TextBox 131">
              <a:extLst>
                <a:ext uri="{FF2B5EF4-FFF2-40B4-BE49-F238E27FC236}">
                  <a16:creationId xmlns:a16="http://schemas.microsoft.com/office/drawing/2014/main" id="{64166DA8-1283-F963-951D-08D3FE2ECAE4}"/>
                </a:ext>
              </a:extLst>
            </p:cNvPr>
            <p:cNvSpPr txBox="1"/>
            <p:nvPr/>
          </p:nvSpPr>
          <p:spPr>
            <a:xfrm>
              <a:off x="5696462" y="4043940"/>
              <a:ext cx="2196525" cy="861774"/>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Desarrollar procesos de entrenamiento y ajuste del modelo para refinar y optimizar los parámetros del mismo.</a:t>
              </a:r>
            </a:p>
          </p:txBody>
        </p:sp>
        <p:sp>
          <p:nvSpPr>
            <p:cNvPr id="133" name="TextBox 132">
              <a:extLst>
                <a:ext uri="{FF2B5EF4-FFF2-40B4-BE49-F238E27FC236}">
                  <a16:creationId xmlns:a16="http://schemas.microsoft.com/office/drawing/2014/main" id="{B512BECD-AD44-FA67-4C53-742255A4DC1E}"/>
                </a:ext>
              </a:extLst>
            </p:cNvPr>
            <p:cNvSpPr txBox="1"/>
            <p:nvPr/>
          </p:nvSpPr>
          <p:spPr>
            <a:xfrm>
              <a:off x="5663158" y="4964861"/>
              <a:ext cx="2263134" cy="1169551"/>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Mejorar la eficiencia del entrenamiento aprovechando las capacidades algorítmicas, determinando protocolos de entrenamiento y procedimientos de reentrenamiento.</a:t>
              </a:r>
            </a:p>
          </p:txBody>
        </p:sp>
        <p:sp>
          <p:nvSpPr>
            <p:cNvPr id="134" name="TextBox 133">
              <a:extLst>
                <a:ext uri="{FF2B5EF4-FFF2-40B4-BE49-F238E27FC236}">
                  <a16:creationId xmlns:a16="http://schemas.microsoft.com/office/drawing/2014/main" id="{F370FA55-4F7D-E75C-588B-3FCD50ECF0AE}"/>
                </a:ext>
              </a:extLst>
            </p:cNvPr>
            <p:cNvSpPr txBox="1"/>
            <p:nvPr/>
          </p:nvSpPr>
          <p:spPr>
            <a:xfrm>
              <a:off x="8205686" y="3163066"/>
              <a:ext cx="2184334" cy="861774"/>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Explotar  los modelos entrenados y los patrones aprendidos para la generación optimizada de resultados.</a:t>
              </a:r>
            </a:p>
          </p:txBody>
        </p:sp>
        <p:sp>
          <p:nvSpPr>
            <p:cNvPr id="135" name="TextBox 134">
              <a:extLst>
                <a:ext uri="{FF2B5EF4-FFF2-40B4-BE49-F238E27FC236}">
                  <a16:creationId xmlns:a16="http://schemas.microsoft.com/office/drawing/2014/main" id="{27B3D127-6CAA-3B57-DF2D-AE0CD29BE9CC}"/>
                </a:ext>
              </a:extLst>
            </p:cNvPr>
            <p:cNvSpPr txBox="1"/>
            <p:nvPr/>
          </p:nvSpPr>
          <p:spPr>
            <a:xfrm>
              <a:off x="8167586" y="4031240"/>
              <a:ext cx="2184334" cy="1015663"/>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Evaluar y medir el rendimiento del modelo en comparación con los conjuntos de prueba designados y las consideraciones de calidad.</a:t>
              </a:r>
            </a:p>
          </p:txBody>
        </p:sp>
        <p:sp>
          <p:nvSpPr>
            <p:cNvPr id="136" name="TextBox 135">
              <a:extLst>
                <a:ext uri="{FF2B5EF4-FFF2-40B4-BE49-F238E27FC236}">
                  <a16:creationId xmlns:a16="http://schemas.microsoft.com/office/drawing/2014/main" id="{A714AD69-A0AD-6550-EF52-1B6BF9F316DD}"/>
                </a:ext>
              </a:extLst>
            </p:cNvPr>
            <p:cNvSpPr txBox="1"/>
            <p:nvPr/>
          </p:nvSpPr>
          <p:spPr>
            <a:xfrm>
              <a:off x="8164621" y="5052117"/>
              <a:ext cx="2241042" cy="707886"/>
            </a:xfrm>
            <a:prstGeom prst="rect">
              <a:avLst/>
            </a:prstGeom>
            <a:noFill/>
          </p:spPr>
          <p:txBody>
            <a:bodyPr wrap="square">
              <a:spAutoFit/>
            </a:bodyPr>
            <a:lstStyle>
              <a:defPPr>
                <a:defRPr lang="es-CO"/>
              </a:defPPr>
              <a:lvl1pPr marL="171450" indent="-171450" algn="just" defTabSz="913029">
                <a:spcBef>
                  <a:spcPts val="600"/>
                </a:spcBef>
                <a:buClr>
                  <a:srgbClr val="5F2364"/>
                </a:buClr>
                <a:buSzPct val="100000"/>
                <a:buFont typeface="Century Gothic" panose="020B0502020202020204" pitchFamily="34" charset="0"/>
                <a:buChar char="►"/>
                <a:defRPr sz="1000" kern="0">
                  <a:latin typeface="Century Gothic" panose="020B0502020202020204" pitchFamily="34" charset="0"/>
                </a:defRPr>
              </a:lvl1pPr>
            </a:lstStyle>
            <a:p>
              <a:r>
                <a:rPr lang="es-MX" dirty="0"/>
                <a:t>Apalancarse del monitoreo del modelo y para mantener altos estándares de calidad en el mismo.</a:t>
              </a:r>
            </a:p>
          </p:txBody>
        </p:sp>
        <p:sp>
          <p:nvSpPr>
            <p:cNvPr id="137" name="Rectangle 136">
              <a:extLst>
                <a:ext uri="{FF2B5EF4-FFF2-40B4-BE49-F238E27FC236}">
                  <a16:creationId xmlns:a16="http://schemas.microsoft.com/office/drawing/2014/main" id="{C2CCEAA8-CFA5-4039-F675-26FAE34D87A4}"/>
                </a:ext>
              </a:extLst>
            </p:cNvPr>
            <p:cNvSpPr/>
            <p:nvPr/>
          </p:nvSpPr>
          <p:spPr bwMode="auto">
            <a:xfrm>
              <a:off x="3224444" y="1822327"/>
              <a:ext cx="2329742" cy="4295610"/>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138" name="Rectangle 137">
              <a:extLst>
                <a:ext uri="{FF2B5EF4-FFF2-40B4-BE49-F238E27FC236}">
                  <a16:creationId xmlns:a16="http://schemas.microsoft.com/office/drawing/2014/main" id="{9B93C26A-9172-3228-DA85-57093383C50D}"/>
                </a:ext>
              </a:extLst>
            </p:cNvPr>
            <p:cNvSpPr/>
            <p:nvPr/>
          </p:nvSpPr>
          <p:spPr bwMode="auto">
            <a:xfrm>
              <a:off x="5670237" y="1822326"/>
              <a:ext cx="2329742" cy="4282911"/>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139" name="Rectangle 138">
              <a:extLst>
                <a:ext uri="{FF2B5EF4-FFF2-40B4-BE49-F238E27FC236}">
                  <a16:creationId xmlns:a16="http://schemas.microsoft.com/office/drawing/2014/main" id="{D4E4452A-EDBF-0DAF-70E6-0B7BA18479EF}"/>
                </a:ext>
              </a:extLst>
            </p:cNvPr>
            <p:cNvSpPr/>
            <p:nvPr/>
          </p:nvSpPr>
          <p:spPr bwMode="auto">
            <a:xfrm>
              <a:off x="8129995" y="1839548"/>
              <a:ext cx="2329742" cy="4265690"/>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grpSp>
      <p:sp>
        <p:nvSpPr>
          <p:cNvPr id="141" name="Rectangle 140">
            <a:extLst>
              <a:ext uri="{FF2B5EF4-FFF2-40B4-BE49-F238E27FC236}">
                <a16:creationId xmlns:a16="http://schemas.microsoft.com/office/drawing/2014/main" id="{274C1A2A-135A-2AF5-2712-C1F83E0B967E}"/>
              </a:ext>
            </a:extLst>
          </p:cNvPr>
          <p:cNvSpPr/>
          <p:nvPr/>
        </p:nvSpPr>
        <p:spPr>
          <a:xfrm>
            <a:off x="2159951" y="2028244"/>
            <a:ext cx="781050" cy="723900"/>
          </a:xfrm>
          <a:prstGeom prst="rect">
            <a:avLst/>
          </a:prstGeom>
          <a:solidFill>
            <a:srgbClr val="6E4494"/>
          </a:solidFill>
          <a:ln>
            <a:solidFill>
              <a:srgbClr val="6E449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dirty="0"/>
          </a:p>
        </p:txBody>
      </p:sp>
      <p:pic>
        <p:nvPicPr>
          <p:cNvPr id="148" name="Picture 147">
            <a:extLst>
              <a:ext uri="{FF2B5EF4-FFF2-40B4-BE49-F238E27FC236}">
                <a16:creationId xmlns:a16="http://schemas.microsoft.com/office/drawing/2014/main" id="{F344DDDA-5F2D-065F-7EA2-9A3E3A0EB158}"/>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51572" y1="61212" x2="51572" y2="61212"/>
                        <a14:foregroundMark x1="45283" y1="75152" x2="45283" y2="75152"/>
                        <a14:foregroundMark x1="27044" y1="78182" x2="27044" y2="78182"/>
                        <a14:foregroundMark x1="78616" y1="78182" x2="78616" y2="78182"/>
                        <a14:backgroundMark x1="77987" y1="78788" x2="77987" y2="78788"/>
                        <a14:backgroundMark x1="44654" y1="76364" x2="44654" y2="76364"/>
                        <a14:backgroundMark x1="44025" y1="75758" x2="44025" y2="75758"/>
                        <a14:backgroundMark x1="45283" y1="76364" x2="45283" y2="76364"/>
                        <a14:backgroundMark x1="45912" y1="75758" x2="45912" y2="75758"/>
                        <a14:backgroundMark x1="27044" y1="79394" x2="27044" y2="79394"/>
                        <a14:backgroundMark x1="44654" y1="75758" x2="44654" y2="75758"/>
                        <a14:backgroundMark x1="50943" y1="60000" x2="50943" y2="60000"/>
                      </a14:backgroundRemoval>
                    </a14:imgEffect>
                  </a14:imgLayer>
                </a14:imgProps>
              </a:ext>
            </a:extLst>
          </a:blip>
          <a:stretch>
            <a:fillRect/>
          </a:stretch>
        </p:blipFill>
        <p:spPr>
          <a:xfrm>
            <a:off x="2156821" y="1984930"/>
            <a:ext cx="781050" cy="810525"/>
          </a:xfrm>
          <a:prstGeom prst="rect">
            <a:avLst/>
          </a:prstGeom>
          <a:solidFill>
            <a:srgbClr val="DCC5ED"/>
          </a:solidFill>
          <a:ln>
            <a:solidFill>
              <a:srgbClr val="5F2364"/>
            </a:solidFill>
          </a:ln>
        </p:spPr>
      </p:pic>
      <p:sp>
        <p:nvSpPr>
          <p:cNvPr id="150" name="Rectangle 149">
            <a:extLst>
              <a:ext uri="{FF2B5EF4-FFF2-40B4-BE49-F238E27FC236}">
                <a16:creationId xmlns:a16="http://schemas.microsoft.com/office/drawing/2014/main" id="{0FD1ABC3-F904-4E95-8A1F-D34A5EE16C7D}"/>
              </a:ext>
            </a:extLst>
          </p:cNvPr>
          <p:cNvSpPr/>
          <p:nvPr/>
        </p:nvSpPr>
        <p:spPr>
          <a:xfrm>
            <a:off x="4647239" y="2028244"/>
            <a:ext cx="781050" cy="723900"/>
          </a:xfrm>
          <a:prstGeom prst="rect">
            <a:avLst/>
          </a:prstGeom>
          <a:solidFill>
            <a:srgbClr val="DCC5ED"/>
          </a:solidFill>
          <a:ln>
            <a:solidFill>
              <a:srgbClr val="6E449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52" name="Rectangle 151">
            <a:extLst>
              <a:ext uri="{FF2B5EF4-FFF2-40B4-BE49-F238E27FC236}">
                <a16:creationId xmlns:a16="http://schemas.microsoft.com/office/drawing/2014/main" id="{D535D1C8-A8BA-5FFA-146E-DF9A287F0CC8}"/>
              </a:ext>
            </a:extLst>
          </p:cNvPr>
          <p:cNvSpPr/>
          <p:nvPr/>
        </p:nvSpPr>
        <p:spPr>
          <a:xfrm>
            <a:off x="9565492" y="2028244"/>
            <a:ext cx="781050" cy="723900"/>
          </a:xfrm>
          <a:prstGeom prst="rect">
            <a:avLst/>
          </a:prstGeom>
          <a:solidFill>
            <a:srgbClr val="DCC5ED"/>
          </a:solidFill>
          <a:ln>
            <a:solidFill>
              <a:srgbClr val="5F23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54" name="Picture 153">
            <a:extLst>
              <a:ext uri="{FF2B5EF4-FFF2-40B4-BE49-F238E27FC236}">
                <a16:creationId xmlns:a16="http://schemas.microsoft.com/office/drawing/2014/main" id="{5D89FB5B-4C49-FF4C-9318-D9EFDCDBA8F1}"/>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14" b="89714" l="10000" r="92917">
                        <a14:foregroundMark x1="27500" y1="41714" x2="27500" y2="41714"/>
                        <a14:foregroundMark x1="23750" y1="47429" x2="23750" y2="47429"/>
                        <a14:foregroundMark x1="40417" y1="29714" x2="40417" y2="29714"/>
                        <a14:foregroundMark x1="48750" y1="41714" x2="48750" y2="41714"/>
                        <a14:foregroundMark x1="50000" y1="48000" x2="50000" y2="48000"/>
                        <a14:foregroundMark x1="75833" y1="41714" x2="75833" y2="41714"/>
                        <a14:foregroundMark x1="76250" y1="47429" x2="76250" y2="47429"/>
                        <a14:foregroundMark x1="77917" y1="28571" x2="77917" y2="28571"/>
                        <a14:foregroundMark x1="50833" y1="12000" x2="50833" y2="12000"/>
                        <a14:foregroundMark x1="92917" y1="23429" x2="92917" y2="23429"/>
                        <a14:foregroundMark x1="50417" y1="73143" x2="50417" y2="73143"/>
                        <a14:backgroundMark x1="93750" y1="24000" x2="93750" y2="24000"/>
                        <a14:backgroundMark x1="50417" y1="49143" x2="50417" y2="49143"/>
                        <a14:backgroundMark x1="49583" y1="49143" x2="49583" y2="49143"/>
                        <a14:backgroundMark x1="93750" y1="22857" x2="93750" y2="22857"/>
                      </a14:backgroundRemoval>
                    </a14:imgEffect>
                  </a14:imgLayer>
                </a14:imgProps>
              </a:ext>
            </a:extLst>
          </a:blip>
          <a:stretch>
            <a:fillRect/>
          </a:stretch>
        </p:blipFill>
        <p:spPr>
          <a:xfrm>
            <a:off x="4666826" y="2119718"/>
            <a:ext cx="741875" cy="540951"/>
          </a:xfrm>
          <a:prstGeom prst="rect">
            <a:avLst/>
          </a:prstGeom>
        </p:spPr>
      </p:pic>
      <p:pic>
        <p:nvPicPr>
          <p:cNvPr id="156" name="Picture 155">
            <a:extLst>
              <a:ext uri="{FF2B5EF4-FFF2-40B4-BE49-F238E27FC236}">
                <a16:creationId xmlns:a16="http://schemas.microsoft.com/office/drawing/2014/main" id="{3F6A7BD8-ECE3-A8BA-88D0-6C5D9E6F9AE7}"/>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32143" y1="15966" x2="32143" y2="15966"/>
                        <a14:foregroundMark x1="42857" y1="21429" x2="42857" y2="21429"/>
                        <a14:foregroundMark x1="72959" y1="32353" x2="72959" y2="32353"/>
                        <a14:foregroundMark x1="74490" y1="37395" x2="74490" y2="37395"/>
                        <a14:foregroundMark x1="68367" y1="41597" x2="68367" y2="41597"/>
                        <a14:foregroundMark x1="68367" y1="47059" x2="68367" y2="47059"/>
                        <a14:foregroundMark x1="59184" y1="65966" x2="59184" y2="65966"/>
                        <a14:foregroundMark x1="72449" y1="61345" x2="72449" y2="61345"/>
                        <a14:foregroundMark x1="73469" y1="81513" x2="73469" y2="81513"/>
                        <a14:foregroundMark x1="53061" y1="81933" x2="53061" y2="81933"/>
                        <a14:foregroundMark x1="61224" y1="75210" x2="61224" y2="75210"/>
                        <a14:foregroundMark x1="26020" y1="36555" x2="26020" y2="36555"/>
                        <a14:foregroundMark x1="27041" y1="41176" x2="27041" y2="41176"/>
                        <a14:foregroundMark x1="26531" y1="44538" x2="26531" y2="44538"/>
                        <a14:backgroundMark x1="75000" y1="38235" x2="75000" y2="38235"/>
                        <a14:backgroundMark x1="73980" y1="38235" x2="73980" y2="38235"/>
                        <a14:backgroundMark x1="67857" y1="48319" x2="67857" y2="48319"/>
                        <a14:backgroundMark x1="68367" y1="47899" x2="68367" y2="47899"/>
                        <a14:backgroundMark x1="72449" y1="62605" x2="72449" y2="62605"/>
                        <a14:backgroundMark x1="52551" y1="82773" x2="52551" y2="82773"/>
                        <a14:backgroundMark x1="28061" y1="41597" x2="28061" y2="41597"/>
                        <a14:backgroundMark x1="28061" y1="40756" x2="28061" y2="40756"/>
                        <a14:backgroundMark x1="24490" y1="36975" x2="24490" y2="36975"/>
                        <a14:backgroundMark x1="25000" y1="36555" x2="25000" y2="36555"/>
                      </a14:backgroundRemoval>
                    </a14:imgEffect>
                  </a14:imgLayer>
                </a14:imgProps>
              </a:ext>
            </a:extLst>
          </a:blip>
          <a:stretch>
            <a:fillRect/>
          </a:stretch>
        </p:blipFill>
        <p:spPr>
          <a:xfrm>
            <a:off x="7075074" y="1974509"/>
            <a:ext cx="781050" cy="831370"/>
          </a:xfrm>
          <a:prstGeom prst="rect">
            <a:avLst/>
          </a:prstGeom>
          <a:solidFill>
            <a:srgbClr val="DCC5ED"/>
          </a:solidFill>
          <a:ln>
            <a:solidFill>
              <a:srgbClr val="5F2364"/>
            </a:solidFill>
          </a:ln>
        </p:spPr>
      </p:pic>
      <p:pic>
        <p:nvPicPr>
          <p:cNvPr id="158" name="Picture 157">
            <a:extLst>
              <a:ext uri="{FF2B5EF4-FFF2-40B4-BE49-F238E27FC236}">
                <a16:creationId xmlns:a16="http://schemas.microsoft.com/office/drawing/2014/main" id="{0F672314-9092-87B0-D17B-E4CC3C88B673}"/>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901" b="89604" l="4418" r="93574">
                        <a14:foregroundMark x1="8032" y1="24752" x2="8032" y2="24752"/>
                        <a14:foregroundMark x1="6426" y1="47030" x2="6426" y2="47030"/>
                        <a14:foregroundMark x1="4819" y1="21287" x2="4819" y2="21287"/>
                        <a14:foregroundMark x1="41365" y1="43069" x2="41365" y2="43069"/>
                        <a14:foregroundMark x1="93574" y1="20297" x2="93574" y2="20297"/>
                        <a14:foregroundMark x1="93173" y1="48515" x2="93173" y2="48515"/>
                        <a14:foregroundMark x1="93574" y1="79208" x2="93574" y2="79208"/>
                      </a14:backgroundRemoval>
                    </a14:imgEffect>
                  </a14:imgLayer>
                </a14:imgProps>
              </a:ext>
            </a:extLst>
          </a:blip>
          <a:stretch>
            <a:fillRect/>
          </a:stretch>
        </p:blipFill>
        <p:spPr>
          <a:xfrm>
            <a:off x="9587088" y="2062086"/>
            <a:ext cx="737857" cy="598583"/>
          </a:xfrm>
          <a:prstGeom prst="rect">
            <a:avLst/>
          </a:prstGeom>
        </p:spPr>
      </p:pic>
      <p:sp>
        <p:nvSpPr>
          <p:cNvPr id="2" name="CuadroTexto 1">
            <a:extLst>
              <a:ext uri="{FF2B5EF4-FFF2-40B4-BE49-F238E27FC236}">
                <a16:creationId xmlns:a16="http://schemas.microsoft.com/office/drawing/2014/main" id="{B2686D92-A5BC-1181-2761-D9A5BFF68586}"/>
              </a:ext>
            </a:extLst>
          </p:cNvPr>
          <p:cNvSpPr txBox="1"/>
          <p:nvPr/>
        </p:nvSpPr>
        <p:spPr>
          <a:xfrm>
            <a:off x="1067602" y="260997"/>
            <a:ext cx="6589523"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Inteligencia Artificial </a:t>
            </a:r>
          </a:p>
        </p:txBody>
      </p:sp>
      <p:sp>
        <p:nvSpPr>
          <p:cNvPr id="5" name="object 597">
            <a:extLst>
              <a:ext uri="{FF2B5EF4-FFF2-40B4-BE49-F238E27FC236}">
                <a16:creationId xmlns:a16="http://schemas.microsoft.com/office/drawing/2014/main" id="{040135B7-8466-8277-FA72-B1356E9756E3}"/>
              </a:ext>
            </a:extLst>
          </p:cNvPr>
          <p:cNvSpPr/>
          <p:nvPr/>
        </p:nvSpPr>
        <p:spPr>
          <a:xfrm flipV="1">
            <a:off x="1165919" y="758659"/>
            <a:ext cx="4915624" cy="45719"/>
          </a:xfrm>
          <a:custGeom>
            <a:avLst/>
            <a:gdLst/>
            <a:ahLst/>
            <a:cxnLst/>
            <a:rect l="l" t="t" r="r" b="b"/>
            <a:pathLst>
              <a:path w="3352800">
                <a:moveTo>
                  <a:pt x="0" y="0"/>
                </a:moveTo>
                <a:lnTo>
                  <a:pt x="3352800" y="0"/>
                </a:lnTo>
              </a:path>
            </a:pathLst>
          </a:custGeom>
          <a:ln w="50800">
            <a:solidFill>
              <a:schemeClr val="accent5">
                <a:lumMod val="50000"/>
              </a:schemeClr>
            </a:solidFill>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Tree>
    <p:extLst>
      <p:ext uri="{BB962C8B-B14F-4D97-AF65-F5344CB8AC3E}">
        <p14:creationId xmlns:p14="http://schemas.microsoft.com/office/powerpoint/2010/main" val="58549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0500F-8B26-8090-4CA6-A3BDB2FC6537}"/>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D18D4D66-DB77-CCB4-C8E3-61E9EF356362}"/>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07BB3440-06B7-FD63-C0F3-F0B964F801B0}"/>
              </a:ext>
            </a:extLst>
          </p:cNvPr>
          <p:cNvPicPr>
            <a:picLocks noChangeAspect="1"/>
          </p:cNvPicPr>
          <p:nvPr/>
        </p:nvPicPr>
        <p:blipFill>
          <a:blip r:embed="rId3"/>
          <a:stretch>
            <a:fillRect/>
          </a:stretch>
        </p:blipFill>
        <p:spPr>
          <a:xfrm>
            <a:off x="-175088" y="1272045"/>
            <a:ext cx="987001" cy="976273"/>
          </a:xfrm>
          <a:prstGeom prst="rect">
            <a:avLst/>
          </a:prstGeom>
        </p:spPr>
      </p:pic>
      <p:sp>
        <p:nvSpPr>
          <p:cNvPr id="2" name="Rectangle: Rounded Corners 28">
            <a:extLst>
              <a:ext uri="{FF2B5EF4-FFF2-40B4-BE49-F238E27FC236}">
                <a16:creationId xmlns:a16="http://schemas.microsoft.com/office/drawing/2014/main" id="{7A49164D-8D72-5524-8564-1F41BDFEFCE6}"/>
              </a:ext>
            </a:extLst>
          </p:cNvPr>
          <p:cNvSpPr/>
          <p:nvPr/>
        </p:nvSpPr>
        <p:spPr>
          <a:xfrm>
            <a:off x="986909" y="469506"/>
            <a:ext cx="9508371" cy="3279533"/>
          </a:xfrm>
          <a:prstGeom prst="roundRect">
            <a:avLst>
              <a:gd name="adj" fmla="val 7952"/>
            </a:avLst>
          </a:prstGeom>
          <a:noFill/>
          <a:ln w="28575" cap="flat" cmpd="sng" algn="ctr">
            <a:noFill/>
            <a:prstDash val="solid"/>
          </a:ln>
          <a:effectLst/>
          <a:extLst>
            <a:ext uri="{909E8E84-426E-40DD-AFC4-6F175D3DCCD1}">
              <a14:hiddenFill xmlns:a14="http://schemas.microsoft.com/office/drawing/2010/main">
                <a:solidFill>
                  <a:srgbClr val="2E2E38">
                    <a:alpha val="70000"/>
                  </a:srgbClr>
                </a:solidFill>
              </a14:hiddenFill>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dirty="0">
              <a:ln>
                <a:noFill/>
              </a:ln>
              <a:solidFill>
                <a:srgbClr val="5F2364"/>
              </a:solidFill>
              <a:effectLst/>
              <a:uLnTx/>
              <a:uFillTx/>
              <a:latin typeface="Century Gothic" panose="020B0502020202020204" pitchFamily="34" charset="0"/>
            </a:endParaRPr>
          </a:p>
        </p:txBody>
      </p:sp>
      <p:sp>
        <p:nvSpPr>
          <p:cNvPr id="3" name="TextBox 29">
            <a:extLst>
              <a:ext uri="{FF2B5EF4-FFF2-40B4-BE49-F238E27FC236}">
                <a16:creationId xmlns:a16="http://schemas.microsoft.com/office/drawing/2014/main" id="{C16ABE7F-47E2-1EA6-4773-81F8BCE21F46}"/>
              </a:ext>
            </a:extLst>
          </p:cNvPr>
          <p:cNvSpPr txBox="1"/>
          <p:nvPr/>
        </p:nvSpPr>
        <p:spPr>
          <a:xfrm>
            <a:off x="954914" y="889395"/>
            <a:ext cx="3316410" cy="461665"/>
          </a:xfrm>
          <a:prstGeom prst="rect">
            <a:avLst/>
          </a:prstGeom>
          <a:noFill/>
        </p:spPr>
        <p:txBody>
          <a:bodyPr wrap="square">
            <a:spAutoFit/>
          </a:bodyPr>
          <a:lstStyle/>
          <a:p>
            <a:r>
              <a:rPr lang="es-MX" sz="2400" b="1" noProof="0" dirty="0">
                <a:solidFill>
                  <a:srgbClr val="5F2364"/>
                </a:solidFill>
                <a:latin typeface="Century Gothic" panose="020B0502020202020204" pitchFamily="34" charset="0"/>
              </a:rPr>
              <a:t>Antecedentes</a:t>
            </a:r>
          </a:p>
        </p:txBody>
      </p:sp>
      <p:sp>
        <p:nvSpPr>
          <p:cNvPr id="4" name="TextBox 31">
            <a:extLst>
              <a:ext uri="{FF2B5EF4-FFF2-40B4-BE49-F238E27FC236}">
                <a16:creationId xmlns:a16="http://schemas.microsoft.com/office/drawing/2014/main" id="{FCA49C98-4768-D3CD-2A2C-1757AD58F746}"/>
              </a:ext>
            </a:extLst>
          </p:cNvPr>
          <p:cNvSpPr txBox="1"/>
          <p:nvPr/>
        </p:nvSpPr>
        <p:spPr>
          <a:xfrm>
            <a:off x="986909" y="1421209"/>
            <a:ext cx="10887591" cy="1750244"/>
          </a:xfrm>
          <a:prstGeom prst="rect">
            <a:avLst/>
          </a:prstGeom>
          <a:noFill/>
        </p:spPr>
        <p:txBody>
          <a:bodyPr wrap="square" lIns="0" tIns="36576" rIns="0" bIns="0" rtlCol="0" anchor="t">
            <a:noAutofit/>
          </a:bodyPr>
          <a:lstStyle/>
          <a:p>
            <a:pPr marL="176213" indent="-176213" algn="just">
              <a:lnSpc>
                <a:spcPct val="85000"/>
              </a:lnSpc>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La Revisión Fundamental de la Cartera de Negociación (FRTB) es el nuevo marco para el cálculo de capital de riesgo de mercado, que incorpora dos metodologías clave: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Enfoque Estándar (SA)</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Enfoque de Modelos Internos (IMA)</a:t>
            </a:r>
          </a:p>
          <a:p>
            <a:pPr marL="176213" indent="-176213" algn="just">
              <a:lnSpc>
                <a:spcPct val="85000"/>
              </a:lnSpc>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La mayor reforma del marco de capital de riesgo de mercado, fundamentada en las lecciones de la Crisis Financiera de 2008, incorpora: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Definición de límites entre Cartera de Negociación y Cartera Bancaria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Nuevo enfoque de medición de riesgo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Medición de la iliquidez del mercado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Ajustes por cobertura y diversificación </a:t>
            </a:r>
          </a:p>
          <a:p>
            <a:pPr marL="355600" indent="-173038" algn="just">
              <a:lnSpc>
                <a:spcPct val="85000"/>
              </a:lnSpc>
              <a:spcAft>
                <a:spcPts val="600"/>
              </a:spcAft>
              <a:buClr>
                <a:srgbClr val="E9488B"/>
              </a:buClr>
              <a:buSzPct val="80000"/>
              <a:buFont typeface="Courier New" panose="02070309020205020404" pitchFamily="49" charset="0"/>
              <a:buChar char="o"/>
            </a:pPr>
            <a:r>
              <a:rPr lang="es-MX" sz="1200" dirty="0">
                <a:solidFill>
                  <a:srgbClr val="5F2364"/>
                </a:solidFill>
                <a:latin typeface="Century Gothic" panose="020B0502020202020204" pitchFamily="34" charset="0"/>
              </a:rPr>
              <a:t>Nueva relación entre los enfoques estándar y de modelos internos</a:t>
            </a:r>
          </a:p>
          <a:p>
            <a:pPr marL="176213" indent="-176213" algn="just">
              <a:lnSpc>
                <a:spcPct val="85000"/>
              </a:lnSpc>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Exigencia de una identificación y capitalización del riesgo más detallada (granular), e incluye estrictos criterios de rendimiento de modelos para utilizar el Enfoque de Modelos Internos (IMA).</a:t>
            </a:r>
          </a:p>
        </p:txBody>
      </p:sp>
      <p:sp>
        <p:nvSpPr>
          <p:cNvPr id="6" name="TextBox 92">
            <a:extLst>
              <a:ext uri="{FF2B5EF4-FFF2-40B4-BE49-F238E27FC236}">
                <a16:creationId xmlns:a16="http://schemas.microsoft.com/office/drawing/2014/main" id="{0DF91062-F873-6469-FC0D-967FA42632A2}"/>
              </a:ext>
            </a:extLst>
          </p:cNvPr>
          <p:cNvSpPr txBox="1"/>
          <p:nvPr/>
        </p:nvSpPr>
        <p:spPr>
          <a:xfrm>
            <a:off x="3176304" y="4527563"/>
            <a:ext cx="8423320" cy="1832363"/>
          </a:xfrm>
          <a:prstGeom prst="rect">
            <a:avLst/>
          </a:prstGeom>
          <a:noFill/>
        </p:spPr>
        <p:txBody>
          <a:bodyPr wrap="square" lIns="0" tIns="36576" rIns="0" bIns="0" rtlCol="0" anchor="t">
            <a:noAutofit/>
          </a:bodyPr>
          <a:lstStyle/>
          <a:p>
            <a:pPr algn="just">
              <a:spcAft>
                <a:spcPts val="600"/>
              </a:spcAft>
              <a:buClr>
                <a:srgbClr val="FFE600"/>
              </a:buClr>
              <a:buSzPct val="80000"/>
            </a:pPr>
            <a:r>
              <a:rPr lang="es-MX" sz="1200" dirty="0">
                <a:solidFill>
                  <a:srgbClr val="5F2364"/>
                </a:solidFill>
                <a:latin typeface="Century Gothic" panose="020B0502020202020204" pitchFamily="34" charset="0"/>
              </a:rPr>
              <a:t>Los esfuerzos de implementación están en marcha, a pesar de que la normativa aún no se ha finalizado en algunas jurisdicciones.</a:t>
            </a:r>
          </a:p>
          <a:p>
            <a:pPr marL="176213" indent="-176213" algn="just">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Reino Unido (UK): La PRA ha pospuesto los plazos dos veces en el último año y la entrada en vigor está programada para el 1 de enero de 2026.</a:t>
            </a:r>
          </a:p>
          <a:p>
            <a:pPr marL="176213" indent="-176213" algn="just">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Unión Europea (UE): La implementación de su versión a través de CRD6 y CRR3 está prevista para el 1 de enero de 2025, con los elementos de FRTB (Cartera de Negociación) efectivos a partir del 1 de enero de 2026.</a:t>
            </a:r>
          </a:p>
          <a:p>
            <a:pPr marL="176213" indent="-176213" algn="just">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Estados Unidos (EE. UU.): Aún debe finalizar su normativa; se espera una política revisada para finales de este año y una implementación no antes del 1 de enero de 2026.</a:t>
            </a:r>
          </a:p>
          <a:p>
            <a:pPr marL="176213" indent="-176213" algn="just">
              <a:spcAft>
                <a:spcPts val="600"/>
              </a:spcAft>
              <a:buClr>
                <a:srgbClr val="E9488B"/>
              </a:buClr>
              <a:buSzPct val="80000"/>
              <a:buFont typeface="Arial" pitchFamily="34" charset="0"/>
              <a:buChar char="►"/>
            </a:pPr>
            <a:r>
              <a:rPr lang="es-MX" sz="1200" dirty="0">
                <a:solidFill>
                  <a:srgbClr val="5F2364"/>
                </a:solidFill>
                <a:latin typeface="Century Gothic" panose="020B0502020202020204" pitchFamily="34" charset="0"/>
              </a:rPr>
              <a:t>Jurisdicciones como Canadá, China, Indonesia y Corea del Sur ya están en vigor (o ya han implementado la normativa).</a:t>
            </a:r>
            <a:endParaRPr lang="en-GB" sz="1200" dirty="0">
              <a:solidFill>
                <a:srgbClr val="5F2364"/>
              </a:solidFill>
              <a:latin typeface="Century Gothic" panose="020B0502020202020204" pitchFamily="34" charset="0"/>
            </a:endParaRPr>
          </a:p>
        </p:txBody>
      </p:sp>
      <p:sp>
        <p:nvSpPr>
          <p:cNvPr id="7" name="Rectangle: Rounded Corners 101">
            <a:extLst>
              <a:ext uri="{FF2B5EF4-FFF2-40B4-BE49-F238E27FC236}">
                <a16:creationId xmlns:a16="http://schemas.microsoft.com/office/drawing/2014/main" id="{34F08287-0105-BEC1-5F8E-21BC424DC290}"/>
              </a:ext>
            </a:extLst>
          </p:cNvPr>
          <p:cNvSpPr/>
          <p:nvPr/>
        </p:nvSpPr>
        <p:spPr>
          <a:xfrm>
            <a:off x="2838558" y="4268112"/>
            <a:ext cx="9035942" cy="2419088"/>
          </a:xfrm>
          <a:prstGeom prst="roundRect">
            <a:avLst>
              <a:gd name="adj" fmla="val 7952"/>
            </a:avLst>
          </a:prstGeom>
          <a:noFill/>
          <a:ln w="28575" cap="flat" cmpd="sng" algn="ctr">
            <a:solidFill>
              <a:sysClr val="window" lastClr="FFFFFF">
                <a:lumMod val="75000"/>
              </a:sysClr>
            </a:solidFill>
            <a:prstDash val="solid"/>
          </a:ln>
          <a:effectLst/>
          <a:extLst>
            <a:ext uri="{909E8E84-426E-40DD-AFC4-6F175D3DCCD1}">
              <a14:hiddenFill xmlns:a14="http://schemas.microsoft.com/office/drawing/2010/main">
                <a:solidFill>
                  <a:srgbClr val="2E2E38">
                    <a:alpha val="70000"/>
                  </a:srgbClr>
                </a:solidFill>
              </a14:hiddenFill>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F2364"/>
              </a:solidFill>
              <a:effectLst/>
              <a:uLnTx/>
              <a:uFillTx/>
              <a:latin typeface="Century Gothic" panose="020B0502020202020204" pitchFamily="34" charset="0"/>
            </a:endParaRPr>
          </a:p>
        </p:txBody>
      </p:sp>
      <p:sp>
        <p:nvSpPr>
          <p:cNvPr id="8" name="TextBox 102">
            <a:extLst>
              <a:ext uri="{FF2B5EF4-FFF2-40B4-BE49-F238E27FC236}">
                <a16:creationId xmlns:a16="http://schemas.microsoft.com/office/drawing/2014/main" id="{FA4EDAD9-0744-C97F-7791-055BEBE1EC7F}"/>
              </a:ext>
            </a:extLst>
          </p:cNvPr>
          <p:cNvSpPr txBox="1"/>
          <p:nvPr/>
        </p:nvSpPr>
        <p:spPr>
          <a:xfrm>
            <a:off x="2350804" y="4096464"/>
            <a:ext cx="1651000" cy="442674"/>
          </a:xfrm>
          <a:prstGeom prst="roundRect">
            <a:avLst/>
          </a:prstGeom>
          <a:solidFill>
            <a:srgbClr val="F4F1F6"/>
          </a:solidFill>
        </p:spPr>
        <p:txBody>
          <a:bodyPr wrap="square">
            <a:spAutoFit/>
          </a:bodyPr>
          <a:lstStyle>
            <a:defPPr>
              <a:defRPr lang="es-PA"/>
            </a:defPPr>
            <a:lvl1pPr>
              <a:defRPr sz="3200" b="1"/>
            </a:lvl1pPr>
          </a:lstStyle>
          <a:p>
            <a:pPr algn="ctr"/>
            <a:r>
              <a:rPr lang="es-MX" sz="2000" noProof="0" dirty="0">
                <a:solidFill>
                  <a:srgbClr val="5F2364"/>
                </a:solidFill>
                <a:latin typeface="Century Gothic" panose="020B0502020202020204" pitchFamily="34" charset="0"/>
              </a:rPr>
              <a:t>Plazos</a:t>
            </a:r>
          </a:p>
        </p:txBody>
      </p:sp>
      <p:sp>
        <p:nvSpPr>
          <p:cNvPr id="5" name="CuadroTexto 22">
            <a:extLst>
              <a:ext uri="{FF2B5EF4-FFF2-40B4-BE49-F238E27FC236}">
                <a16:creationId xmlns:a16="http://schemas.microsoft.com/office/drawing/2014/main" id="{10565E91-82B7-022C-5F8A-3070B5CA3A83}"/>
              </a:ext>
            </a:extLst>
          </p:cNvPr>
          <p:cNvSpPr txBox="1"/>
          <p:nvPr/>
        </p:nvSpPr>
        <p:spPr>
          <a:xfrm>
            <a:off x="644832" y="301423"/>
            <a:ext cx="7252984" cy="542200"/>
          </a:xfrm>
          <a:prstGeom prst="rect">
            <a:avLst/>
          </a:prstGeom>
          <a:noFill/>
        </p:spPr>
        <p:txBody>
          <a:bodyPr wrap="square" rtlCol="0">
            <a:spAutoFit/>
          </a:bodyPr>
          <a:lstStyle/>
          <a:p>
            <a:pPr lvl="0">
              <a:lnSpc>
                <a:spcPct val="115000"/>
              </a:lnSpc>
            </a:pPr>
            <a:r>
              <a:rPr lang="es-ES"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rPr>
              <a:t>FRTB</a:t>
            </a:r>
            <a:endParaRPr lang="es-CO"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30999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8D0BC-48EF-F8D7-F28E-5C53559E6E9D}"/>
            </a:ext>
          </a:extLst>
        </p:cNvPr>
        <p:cNvGrpSpPr/>
        <p:nvPr/>
      </p:nvGrpSpPr>
      <p:grpSpPr>
        <a:xfrm>
          <a:off x="0" y="0"/>
          <a:ext cx="0" cy="0"/>
          <a:chOff x="0" y="0"/>
          <a:chExt cx="0" cy="0"/>
        </a:xfrm>
      </p:grpSpPr>
      <p:sp>
        <p:nvSpPr>
          <p:cNvPr id="11" name="Rectángulo 10">
            <a:extLst>
              <a:ext uri="{FF2B5EF4-FFF2-40B4-BE49-F238E27FC236}">
                <a16:creationId xmlns:a16="http://schemas.microsoft.com/office/drawing/2014/main" id="{DBF0422C-703E-36DD-6059-60BF902329F5}"/>
              </a:ext>
            </a:extLst>
          </p:cNvPr>
          <p:cNvSpPr/>
          <p:nvPr/>
        </p:nvSpPr>
        <p:spPr>
          <a:xfrm>
            <a:off x="10779" y="-10946"/>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 name="Rectángulo 3">
            <a:extLst>
              <a:ext uri="{FF2B5EF4-FFF2-40B4-BE49-F238E27FC236}">
                <a16:creationId xmlns:a16="http://schemas.microsoft.com/office/drawing/2014/main" id="{A1CA3ADD-6468-7855-0863-0C399960B30A}"/>
              </a:ext>
            </a:extLst>
          </p:cNvPr>
          <p:cNvSpPr/>
          <p:nvPr/>
        </p:nvSpPr>
        <p:spPr>
          <a:xfrm>
            <a:off x="-92" y="0"/>
            <a:ext cx="3454492" cy="6858000"/>
          </a:xfrm>
          <a:prstGeom prst="rect">
            <a:avLst/>
          </a:prstGeom>
          <a:gradFill flip="none" rotWithShape="1">
            <a:gsLst>
              <a:gs pos="1000">
                <a:srgbClr val="525C9C"/>
              </a:gs>
              <a:gs pos="100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solidFill>
                <a:srgbClr val="FF0000"/>
              </a:solidFill>
            </a:endParaRPr>
          </a:p>
        </p:txBody>
      </p:sp>
      <p:sp>
        <p:nvSpPr>
          <p:cNvPr id="38" name="Rectángulo redondeado 37">
            <a:extLst>
              <a:ext uri="{FF2B5EF4-FFF2-40B4-BE49-F238E27FC236}">
                <a16:creationId xmlns:a16="http://schemas.microsoft.com/office/drawing/2014/main" id="{9577EBAB-BA33-762E-5EDD-4B7CBF6F00B7}"/>
              </a:ext>
            </a:extLst>
          </p:cNvPr>
          <p:cNvSpPr/>
          <p:nvPr/>
        </p:nvSpPr>
        <p:spPr>
          <a:xfrm rot="18900000">
            <a:off x="603160" y="4653067"/>
            <a:ext cx="1392919" cy="231626"/>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39" name="Rectángulo redondeado 38">
            <a:extLst>
              <a:ext uri="{FF2B5EF4-FFF2-40B4-BE49-F238E27FC236}">
                <a16:creationId xmlns:a16="http://schemas.microsoft.com/office/drawing/2014/main" id="{00BC29F9-CB80-9180-E9C5-F293FA310F5C}"/>
              </a:ext>
            </a:extLst>
          </p:cNvPr>
          <p:cNvSpPr/>
          <p:nvPr/>
        </p:nvSpPr>
        <p:spPr>
          <a:xfrm rot="18900000">
            <a:off x="-553587" y="5865140"/>
            <a:ext cx="3139517" cy="522064"/>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1" name="Rectángulo redondeado 40">
            <a:extLst>
              <a:ext uri="{FF2B5EF4-FFF2-40B4-BE49-F238E27FC236}">
                <a16:creationId xmlns:a16="http://schemas.microsoft.com/office/drawing/2014/main" id="{F025E7B7-048D-C7DC-D506-EB3B5AE71DBD}"/>
              </a:ext>
            </a:extLst>
          </p:cNvPr>
          <p:cNvSpPr/>
          <p:nvPr/>
        </p:nvSpPr>
        <p:spPr>
          <a:xfrm rot="18900000">
            <a:off x="10204017" y="6174626"/>
            <a:ext cx="2525453" cy="419953"/>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2" name="Imagen 41">
            <a:extLst>
              <a:ext uri="{FF2B5EF4-FFF2-40B4-BE49-F238E27FC236}">
                <a16:creationId xmlns:a16="http://schemas.microsoft.com/office/drawing/2014/main" id="{D73D0F58-1EC1-0D1E-4D1C-4FF602F38288}"/>
              </a:ext>
            </a:extLst>
          </p:cNvPr>
          <p:cNvPicPr>
            <a:picLocks noChangeAspect="1"/>
          </p:cNvPicPr>
          <p:nvPr/>
        </p:nvPicPr>
        <p:blipFill>
          <a:blip r:embed="rId3"/>
          <a:stretch>
            <a:fillRect/>
          </a:stretch>
        </p:blipFill>
        <p:spPr>
          <a:xfrm>
            <a:off x="-221175" y="3716338"/>
            <a:ext cx="822431" cy="813492"/>
          </a:xfrm>
          <a:prstGeom prst="rect">
            <a:avLst/>
          </a:prstGeom>
        </p:spPr>
      </p:pic>
      <p:sp>
        <p:nvSpPr>
          <p:cNvPr id="43" name="Rectángulo redondeado 42">
            <a:extLst>
              <a:ext uri="{FF2B5EF4-FFF2-40B4-BE49-F238E27FC236}">
                <a16:creationId xmlns:a16="http://schemas.microsoft.com/office/drawing/2014/main" id="{3F365271-FD6B-2800-204E-089B7C7CE07F}"/>
              </a:ext>
            </a:extLst>
          </p:cNvPr>
          <p:cNvSpPr/>
          <p:nvPr/>
        </p:nvSpPr>
        <p:spPr>
          <a:xfrm>
            <a:off x="2219778" y="4362134"/>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grpSp>
        <p:nvGrpSpPr>
          <p:cNvPr id="3" name="Group 93">
            <a:extLst>
              <a:ext uri="{FF2B5EF4-FFF2-40B4-BE49-F238E27FC236}">
                <a16:creationId xmlns:a16="http://schemas.microsoft.com/office/drawing/2014/main" id="{6FBCDCC2-C965-20F3-3F5E-E938052E1D5D}"/>
              </a:ext>
            </a:extLst>
          </p:cNvPr>
          <p:cNvGrpSpPr/>
          <p:nvPr/>
        </p:nvGrpSpPr>
        <p:grpSpPr>
          <a:xfrm>
            <a:off x="4722398" y="752658"/>
            <a:ext cx="5757304" cy="5536381"/>
            <a:chOff x="768116" y="1537774"/>
            <a:chExt cx="4106923" cy="4177226"/>
          </a:xfrm>
        </p:grpSpPr>
        <p:sp>
          <p:nvSpPr>
            <p:cNvPr id="6" name="Hexagon 94">
              <a:extLst>
                <a:ext uri="{FF2B5EF4-FFF2-40B4-BE49-F238E27FC236}">
                  <a16:creationId xmlns:a16="http://schemas.microsoft.com/office/drawing/2014/main" id="{8854504C-791A-A568-E88B-860FA232A516}"/>
                </a:ext>
              </a:extLst>
            </p:cNvPr>
            <p:cNvSpPr/>
            <p:nvPr/>
          </p:nvSpPr>
          <p:spPr>
            <a:xfrm>
              <a:off x="2055221" y="1537774"/>
              <a:ext cx="1536700" cy="1344613"/>
            </a:xfrm>
            <a:prstGeom prst="hexagon">
              <a:avLst/>
            </a:prstGeom>
            <a:solidFill>
              <a:srgbClr val="188CE5"/>
            </a:solidFill>
            <a:ln w="25400">
              <a:solidFill>
                <a:srgbClr val="188CE5"/>
              </a:solid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marL="0" marR="0" lvl="0" indent="0" algn="ctr" defTabSz="1217738"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effectLst/>
                  <a:uLnTx/>
                  <a:uFillTx/>
                  <a:latin typeface="Century Gothic" panose="020B0502020202020204" pitchFamily="34" charset="0"/>
                </a:rPr>
                <a:t>Divergencias jurisdiccionales</a:t>
              </a:r>
              <a:endParaRPr kumimoji="0" lang="es-MX" sz="933" b="1" i="0" u="none" strike="noStrike" kern="1200" cap="none" spc="0" normalizeH="0" baseline="0" noProof="0" dirty="0">
                <a:ln>
                  <a:noFill/>
                </a:ln>
                <a:effectLst/>
                <a:uLnTx/>
                <a:uFillTx/>
                <a:latin typeface="Century Gothic" panose="020B0502020202020204" pitchFamily="34" charset="0"/>
              </a:endParaRPr>
            </a:p>
            <a:p>
              <a:pPr marL="0" marR="0" lvl="0" indent="0" algn="ctr" defTabSz="1217738" rtl="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dirty="0">
                  <a:ln>
                    <a:noFill/>
                  </a:ln>
                  <a:effectLst/>
                  <a:uLnTx/>
                  <a:uFillTx/>
                  <a:latin typeface="Century Gothic" panose="020B0502020202020204" pitchFamily="34" charset="0"/>
                </a:rPr>
                <a:t>Divergencias significativas en plazos y contenido</a:t>
              </a:r>
              <a:endParaRPr kumimoji="0" lang="es-MX" sz="1200" b="0" i="0" u="none" strike="noStrike" kern="1200" cap="none" spc="0" normalizeH="0" baseline="0" noProof="0" dirty="0">
                <a:ln>
                  <a:noFill/>
                </a:ln>
                <a:effectLst/>
                <a:uLnTx/>
                <a:uFillTx/>
                <a:latin typeface="Century Gothic" panose="020B0502020202020204" pitchFamily="34" charset="0"/>
              </a:endParaRPr>
            </a:p>
          </p:txBody>
        </p:sp>
        <p:sp>
          <p:nvSpPr>
            <p:cNvPr id="7" name="Hexagon 95">
              <a:extLst>
                <a:ext uri="{FF2B5EF4-FFF2-40B4-BE49-F238E27FC236}">
                  <a16:creationId xmlns:a16="http://schemas.microsoft.com/office/drawing/2014/main" id="{366601BD-6373-5107-3C45-8F875FAB7217}"/>
                </a:ext>
              </a:extLst>
            </p:cNvPr>
            <p:cNvSpPr/>
            <p:nvPr/>
          </p:nvSpPr>
          <p:spPr>
            <a:xfrm>
              <a:off x="3338339" y="2234326"/>
              <a:ext cx="1536700" cy="1344613"/>
            </a:xfrm>
            <a:prstGeom prst="hexagon">
              <a:avLst/>
            </a:prstGeom>
            <a:solidFill>
              <a:srgbClr val="27ACAA"/>
            </a:solidFill>
            <a:ln w="25400">
              <a:solidFill>
                <a:srgbClr val="27ACAA"/>
              </a:solid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marL="0" marR="0" lvl="0" indent="0" algn="ctr" defTabSz="1217738"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effectLst/>
                  <a:uLnTx/>
                  <a:uFillTx/>
                  <a:latin typeface="Century Gothic" panose="020B0502020202020204" pitchFamily="34" charset="0"/>
                </a:rPr>
                <a:t>Complejidad del marco</a:t>
              </a:r>
            </a:p>
            <a:p>
              <a:pPr lvl="0" algn="ctr" defTabSz="1217738">
                <a:defRPr/>
              </a:pPr>
              <a:r>
                <a:rPr lang="es-MX" sz="1100" dirty="0">
                  <a:latin typeface="Century Gothic" panose="020B0502020202020204" pitchFamily="34" charset="0"/>
                </a:rPr>
                <a:t>Diversos elementos complejos que interactúan</a:t>
              </a:r>
            </a:p>
          </p:txBody>
        </p:sp>
        <p:sp>
          <p:nvSpPr>
            <p:cNvPr id="8" name="Hexagon 96">
              <a:extLst>
                <a:ext uri="{FF2B5EF4-FFF2-40B4-BE49-F238E27FC236}">
                  <a16:creationId xmlns:a16="http://schemas.microsoft.com/office/drawing/2014/main" id="{C427A02E-0BE0-657A-5D06-EE01A6353047}"/>
                </a:ext>
              </a:extLst>
            </p:cNvPr>
            <p:cNvSpPr/>
            <p:nvPr/>
          </p:nvSpPr>
          <p:spPr>
            <a:xfrm>
              <a:off x="2055221" y="2956410"/>
              <a:ext cx="1536700" cy="1344613"/>
            </a:xfrm>
            <a:prstGeom prst="hexagon">
              <a:avLst/>
            </a:prstGeom>
            <a:solidFill>
              <a:srgbClr val="2E2E38">
                <a:lumMod val="20000"/>
                <a:lumOff val="80000"/>
              </a:srgbClr>
            </a:solidFill>
            <a:ln w="25400">
              <a:no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marL="0" marR="0" lvl="0" indent="0" algn="ctr" defTabSz="1217738"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a:ln>
                    <a:noFill/>
                  </a:ln>
                  <a:effectLst/>
                  <a:uLnTx/>
                  <a:uFillTx/>
                  <a:latin typeface="Century Gothic" panose="020B0502020202020204" pitchFamily="34" charset="0"/>
                </a:rPr>
                <a:t>Retos principales</a:t>
              </a:r>
            </a:p>
          </p:txBody>
        </p:sp>
        <p:sp>
          <p:nvSpPr>
            <p:cNvPr id="9" name="Hexagon 97">
              <a:extLst>
                <a:ext uri="{FF2B5EF4-FFF2-40B4-BE49-F238E27FC236}">
                  <a16:creationId xmlns:a16="http://schemas.microsoft.com/office/drawing/2014/main" id="{D50C23D5-5E72-3624-84DE-F0B1B133F9F4}"/>
                </a:ext>
              </a:extLst>
            </p:cNvPr>
            <p:cNvSpPr/>
            <p:nvPr/>
          </p:nvSpPr>
          <p:spPr>
            <a:xfrm>
              <a:off x="3338339" y="3648303"/>
              <a:ext cx="1536700" cy="1344613"/>
            </a:xfrm>
            <a:prstGeom prst="hexagon">
              <a:avLst/>
            </a:prstGeom>
            <a:solidFill>
              <a:srgbClr val="FF8D86"/>
            </a:solidFill>
            <a:ln w="25400">
              <a:solidFill>
                <a:srgbClr val="FF8D86"/>
              </a:solid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algn="ctr" defTabSz="1217738">
                <a:defRPr/>
              </a:pPr>
              <a:r>
                <a:rPr lang="es-MX" sz="1400" b="1" dirty="0">
                  <a:latin typeface="Century Gothic" panose="020B0502020202020204" pitchFamily="34" charset="0"/>
                </a:rPr>
                <a:t>Desafíos operativos</a:t>
              </a:r>
            </a:p>
            <a:p>
              <a:pPr lvl="0" algn="ctr" defTabSz="1217738">
                <a:defRPr/>
              </a:pPr>
              <a:r>
                <a:rPr lang="es-MX" sz="1100" dirty="0">
                  <a:latin typeface="Century Gothic" panose="020B0502020202020204" pitchFamily="34" charset="0"/>
                </a:rPr>
                <a:t>Establecer y gestionar cálculos continuo</a:t>
              </a:r>
            </a:p>
          </p:txBody>
        </p:sp>
        <p:sp>
          <p:nvSpPr>
            <p:cNvPr id="10" name="Hexagon 98">
              <a:extLst>
                <a:ext uri="{FF2B5EF4-FFF2-40B4-BE49-F238E27FC236}">
                  <a16:creationId xmlns:a16="http://schemas.microsoft.com/office/drawing/2014/main" id="{A7C49900-76A0-8A48-2487-4E5E32C79A74}"/>
                </a:ext>
              </a:extLst>
            </p:cNvPr>
            <p:cNvSpPr/>
            <p:nvPr/>
          </p:nvSpPr>
          <p:spPr>
            <a:xfrm>
              <a:off x="2055221" y="4370387"/>
              <a:ext cx="1536700" cy="1344613"/>
            </a:xfrm>
            <a:prstGeom prst="hexagon">
              <a:avLst/>
            </a:prstGeom>
            <a:solidFill>
              <a:srgbClr val="FF6D00"/>
            </a:solidFill>
            <a:ln w="25400">
              <a:solidFill>
                <a:srgbClr val="FF6D00"/>
              </a:solid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lvl="0" algn="ctr" defTabSz="1217738">
                <a:defRPr/>
              </a:pPr>
              <a:r>
                <a:rPr lang="es-MX" sz="1400" b="1" dirty="0">
                  <a:latin typeface="Century Gothic" panose="020B0502020202020204" pitchFamily="34" charset="0"/>
                </a:rPr>
                <a:t>Desafíos de datos y sistemas</a:t>
              </a:r>
            </a:p>
            <a:p>
              <a:pPr lvl="0" algn="ctr" defTabSz="1217738">
                <a:defRPr/>
              </a:pPr>
              <a:r>
                <a:rPr lang="es-MX" sz="1100" dirty="0">
                  <a:latin typeface="Century Gothic" panose="020B0502020202020204" pitchFamily="34" charset="0"/>
                </a:rPr>
                <a:t>Datos de entrada rigurosos y amplios requisitos computacionales</a:t>
              </a:r>
            </a:p>
          </p:txBody>
        </p:sp>
        <p:sp>
          <p:nvSpPr>
            <p:cNvPr id="12" name="Hexagon 99">
              <a:extLst>
                <a:ext uri="{FF2B5EF4-FFF2-40B4-BE49-F238E27FC236}">
                  <a16:creationId xmlns:a16="http://schemas.microsoft.com/office/drawing/2014/main" id="{EB54B80F-52D1-1F0D-795A-DCF93D59925C}"/>
                </a:ext>
              </a:extLst>
            </p:cNvPr>
            <p:cNvSpPr/>
            <p:nvPr/>
          </p:nvSpPr>
          <p:spPr>
            <a:xfrm>
              <a:off x="768116" y="3648303"/>
              <a:ext cx="1536700" cy="1344613"/>
            </a:xfrm>
            <a:prstGeom prst="hexagon">
              <a:avLst/>
            </a:prstGeom>
            <a:solidFill>
              <a:srgbClr val="A97FF0"/>
            </a:solidFill>
            <a:ln w="25400">
              <a:solidFill>
                <a:srgbClr val="A97FF0"/>
              </a:solidFill>
            </a:ln>
          </p:spPr>
          <p:txBody>
            <a:bodyPr wrap="square" lIns="0" tIns="0" rIns="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algn="ctr" defTabSz="1217738">
                <a:defRPr/>
              </a:pPr>
              <a:r>
                <a:rPr lang="es-MX" sz="1200" b="1" dirty="0">
                  <a:latin typeface="Century Gothic" panose="020B0502020202020204" pitchFamily="34" charset="0"/>
                </a:rPr>
                <a:t>Interpretaciones y superposiciones de las reglas</a:t>
              </a:r>
            </a:p>
            <a:p>
              <a:pPr lvl="0" algn="ctr" defTabSz="1217738">
                <a:defRPr/>
              </a:pPr>
              <a:r>
                <a:rPr lang="es-MX" sz="1100" dirty="0">
                  <a:latin typeface="Century Gothic" panose="020B0502020202020204" pitchFamily="34" charset="0"/>
                </a:rPr>
                <a:t>Interpretaciones inconsistentes y superposiciones con otras regulaciones</a:t>
              </a:r>
            </a:p>
          </p:txBody>
        </p:sp>
        <p:sp>
          <p:nvSpPr>
            <p:cNvPr id="13" name="Hexagon 100">
              <a:extLst>
                <a:ext uri="{FF2B5EF4-FFF2-40B4-BE49-F238E27FC236}">
                  <a16:creationId xmlns:a16="http://schemas.microsoft.com/office/drawing/2014/main" id="{D474F4E5-8BF4-8F86-F012-CDEFE23CBE41}"/>
                </a:ext>
              </a:extLst>
            </p:cNvPr>
            <p:cNvSpPr/>
            <p:nvPr/>
          </p:nvSpPr>
          <p:spPr>
            <a:xfrm>
              <a:off x="768116" y="2234326"/>
              <a:ext cx="1536700" cy="1344613"/>
            </a:xfrm>
            <a:prstGeom prst="hexagon">
              <a:avLst/>
            </a:prstGeom>
            <a:solidFill>
              <a:srgbClr val="FFA766"/>
            </a:solidFill>
            <a:ln w="25400">
              <a:solidFill>
                <a:srgbClr val="FFA766"/>
              </a:solidFill>
            </a:ln>
          </p:spPr>
          <p:txBody>
            <a:bodyPr wrap="square" lIns="96000" tIns="0" rIns="96000" bIns="0" anchor="ctr">
              <a:noAutofit/>
            </a:bodyPr>
            <a:lstStyle>
              <a:defPPr>
                <a:defRPr lang="en-US"/>
              </a:defPPr>
              <a:lvl1pPr marL="0" algn="l" defTabSz="913326" rtl="0" eaLnBrk="1" latinLnBrk="0" hangingPunct="1">
                <a:defRPr sz="1733" kern="1200">
                  <a:solidFill>
                    <a:schemeClr val="tx1"/>
                  </a:solidFill>
                  <a:latin typeface="+mn-lt"/>
                  <a:ea typeface="+mn-ea"/>
                  <a:cs typeface="+mn-cs"/>
                </a:defRPr>
              </a:lvl1pPr>
              <a:lvl2pPr marL="456662" algn="l" defTabSz="913326" rtl="0" eaLnBrk="1" latinLnBrk="0" hangingPunct="1">
                <a:defRPr sz="1733" kern="1200">
                  <a:solidFill>
                    <a:schemeClr val="tx1"/>
                  </a:solidFill>
                  <a:latin typeface="+mn-lt"/>
                  <a:ea typeface="+mn-ea"/>
                  <a:cs typeface="+mn-cs"/>
                </a:defRPr>
              </a:lvl2pPr>
              <a:lvl3pPr marL="913326" algn="l" defTabSz="913326" rtl="0" eaLnBrk="1" latinLnBrk="0" hangingPunct="1">
                <a:defRPr sz="1733" kern="1200">
                  <a:solidFill>
                    <a:schemeClr val="tx1"/>
                  </a:solidFill>
                  <a:latin typeface="+mn-lt"/>
                  <a:ea typeface="+mn-ea"/>
                  <a:cs typeface="+mn-cs"/>
                </a:defRPr>
              </a:lvl3pPr>
              <a:lvl4pPr marL="1369987" algn="l" defTabSz="913326" rtl="0" eaLnBrk="1" latinLnBrk="0" hangingPunct="1">
                <a:defRPr sz="1733" kern="1200">
                  <a:solidFill>
                    <a:schemeClr val="tx1"/>
                  </a:solidFill>
                  <a:latin typeface="+mn-lt"/>
                  <a:ea typeface="+mn-ea"/>
                  <a:cs typeface="+mn-cs"/>
                </a:defRPr>
              </a:lvl4pPr>
              <a:lvl5pPr marL="1826653" algn="l" defTabSz="913326" rtl="0" eaLnBrk="1" latinLnBrk="0" hangingPunct="1">
                <a:defRPr sz="1733" kern="1200">
                  <a:solidFill>
                    <a:schemeClr val="tx1"/>
                  </a:solidFill>
                  <a:latin typeface="+mn-lt"/>
                  <a:ea typeface="+mn-ea"/>
                  <a:cs typeface="+mn-cs"/>
                </a:defRPr>
              </a:lvl5pPr>
              <a:lvl6pPr marL="2283314" algn="l" defTabSz="913326" rtl="0" eaLnBrk="1" latinLnBrk="0" hangingPunct="1">
                <a:defRPr sz="1733" kern="1200">
                  <a:solidFill>
                    <a:schemeClr val="tx1"/>
                  </a:solidFill>
                  <a:latin typeface="+mn-lt"/>
                  <a:ea typeface="+mn-ea"/>
                  <a:cs typeface="+mn-cs"/>
                </a:defRPr>
              </a:lvl6pPr>
              <a:lvl7pPr marL="2739977" algn="l" defTabSz="913326" rtl="0" eaLnBrk="1" latinLnBrk="0" hangingPunct="1">
                <a:defRPr sz="1733" kern="1200">
                  <a:solidFill>
                    <a:schemeClr val="tx1"/>
                  </a:solidFill>
                  <a:latin typeface="+mn-lt"/>
                  <a:ea typeface="+mn-ea"/>
                  <a:cs typeface="+mn-cs"/>
                </a:defRPr>
              </a:lvl7pPr>
              <a:lvl8pPr marL="3196640" algn="l" defTabSz="913326" rtl="0" eaLnBrk="1" latinLnBrk="0" hangingPunct="1">
                <a:defRPr sz="1733" kern="1200">
                  <a:solidFill>
                    <a:schemeClr val="tx1"/>
                  </a:solidFill>
                  <a:latin typeface="+mn-lt"/>
                  <a:ea typeface="+mn-ea"/>
                  <a:cs typeface="+mn-cs"/>
                </a:defRPr>
              </a:lvl8pPr>
              <a:lvl9pPr marL="3653302" algn="l" defTabSz="913326" rtl="0" eaLnBrk="1" latinLnBrk="0" hangingPunct="1">
                <a:defRPr sz="1733" kern="1200">
                  <a:solidFill>
                    <a:schemeClr val="tx1"/>
                  </a:solidFill>
                  <a:latin typeface="+mn-lt"/>
                  <a:ea typeface="+mn-ea"/>
                  <a:cs typeface="+mn-cs"/>
                </a:defRPr>
              </a:lvl9pPr>
            </a:lstStyle>
            <a:p>
              <a:pPr marL="0" marR="0" lvl="0" indent="0" algn="ctr" defTabSz="1217738"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effectLst/>
                  <a:uLnTx/>
                  <a:uFillTx/>
                  <a:latin typeface="Century Gothic" panose="020B0502020202020204" pitchFamily="34" charset="0"/>
                </a:rPr>
                <a:t>Viabilidad de negocio</a:t>
              </a:r>
            </a:p>
            <a:p>
              <a:pPr lvl="0" algn="ctr" defTabSz="1217738">
                <a:defRPr/>
              </a:pPr>
              <a:r>
                <a:rPr lang="es-MX" sz="1100" dirty="0">
                  <a:latin typeface="Century Gothic" panose="020B0502020202020204" pitchFamily="34" charset="0"/>
                </a:rPr>
                <a:t>Algunos negocios podrían volverse más caros desde una perspectiva de capital.</a:t>
              </a:r>
            </a:p>
          </p:txBody>
        </p:sp>
      </p:grpSp>
      <p:sp>
        <p:nvSpPr>
          <p:cNvPr id="14" name="CuadroTexto 13">
            <a:extLst>
              <a:ext uri="{FF2B5EF4-FFF2-40B4-BE49-F238E27FC236}">
                <a16:creationId xmlns:a16="http://schemas.microsoft.com/office/drawing/2014/main" id="{29AAC59F-4047-5823-0050-85636EE649A1}"/>
              </a:ext>
            </a:extLst>
          </p:cNvPr>
          <p:cNvSpPr txBox="1"/>
          <p:nvPr/>
        </p:nvSpPr>
        <p:spPr>
          <a:xfrm>
            <a:off x="406015" y="309406"/>
            <a:ext cx="3269468" cy="1011174"/>
          </a:xfrm>
          <a:prstGeom prst="rect">
            <a:avLst/>
          </a:prstGeom>
          <a:noFill/>
        </p:spPr>
        <p:txBody>
          <a:bodyPr wrap="square" rtlCol="0">
            <a:spAutoFit/>
          </a:bodyPr>
          <a:lstStyle/>
          <a:p>
            <a:pPr>
              <a:lnSpc>
                <a:spcPct val="115000"/>
              </a:lnSpc>
              <a:spcAft>
                <a:spcPts val="800"/>
              </a:spcAft>
            </a:pP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FRTB</a:t>
            </a:r>
          </a:p>
          <a:p>
            <a:pPr>
              <a:lnSpc>
                <a:spcPct val="115000"/>
              </a:lnSpc>
              <a:spcAft>
                <a:spcPts val="800"/>
              </a:spcAft>
            </a:pPr>
            <a:r>
              <a:rPr lang="es-CO" sz="2000" b="1" i="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Enfoque en la industria</a:t>
            </a:r>
          </a:p>
        </p:txBody>
      </p:sp>
      <p:sp>
        <p:nvSpPr>
          <p:cNvPr id="15" name="TextBox 1">
            <a:extLst>
              <a:ext uri="{FF2B5EF4-FFF2-40B4-BE49-F238E27FC236}">
                <a16:creationId xmlns:a16="http://schemas.microsoft.com/office/drawing/2014/main" id="{DF5C7AB9-8BC8-2D2B-AEDC-1DC04AD3F397}"/>
              </a:ext>
            </a:extLst>
          </p:cNvPr>
          <p:cNvSpPr txBox="1"/>
          <p:nvPr/>
        </p:nvSpPr>
        <p:spPr>
          <a:xfrm>
            <a:off x="498978" y="1581862"/>
            <a:ext cx="2924307" cy="1938992"/>
          </a:xfrm>
          <a:prstGeom prst="rect">
            <a:avLst/>
          </a:prstGeom>
          <a:noFill/>
        </p:spPr>
        <p:txBody>
          <a:bodyPr wrap="square">
            <a:spAutoFit/>
          </a:bodyPr>
          <a:lstStyle/>
          <a:p>
            <a:pPr marL="285750" lvl="0" indent="-285750" algn="just" defTabSz="913029">
              <a:spcBef>
                <a:spcPts val="600"/>
              </a:spcBef>
              <a:buClr>
                <a:srgbClr val="FFE600"/>
              </a:buClr>
              <a:buSzPct val="100000"/>
              <a:buFont typeface="Arial" panose="020B0604020202020204" pitchFamily="34" charset="0"/>
              <a:buChar char="•"/>
              <a:defRPr/>
            </a:pPr>
            <a:r>
              <a:rPr lang="es-MX" sz="1100" i="1" kern="0" dirty="0">
                <a:solidFill>
                  <a:schemeClr val="bg1"/>
                </a:solidFill>
                <a:latin typeface="Century Gothic" panose="020B0502020202020204" pitchFamily="34" charset="0"/>
              </a:rPr>
              <a:t>Preparación para la migración al Enfoque estándar (SA) utilizando Modelos Internos (IMA).</a:t>
            </a:r>
          </a:p>
          <a:p>
            <a:pPr marL="285750" lvl="0" indent="-285750" algn="just" defTabSz="913029">
              <a:spcBef>
                <a:spcPts val="600"/>
              </a:spcBef>
              <a:buClr>
                <a:srgbClr val="FFE600"/>
              </a:buClr>
              <a:buSzPct val="100000"/>
              <a:buFont typeface="Arial" panose="020B0604020202020204" pitchFamily="34" charset="0"/>
              <a:buChar char="•"/>
              <a:defRPr/>
            </a:pPr>
            <a:r>
              <a:rPr lang="es-MX" sz="1100" i="1" kern="0" dirty="0">
                <a:solidFill>
                  <a:schemeClr val="bg1"/>
                </a:solidFill>
                <a:latin typeface="Century Gothic" panose="020B0502020202020204" pitchFamily="34" charset="0"/>
              </a:rPr>
              <a:t>Desarrollo de las metodologías y capacidades tecnológicas para implementar IMA en el futuro.</a:t>
            </a:r>
          </a:p>
          <a:p>
            <a:pPr marL="285750" indent="-285750" algn="just" defTabSz="913029">
              <a:spcBef>
                <a:spcPts val="600"/>
              </a:spcBef>
              <a:buClr>
                <a:srgbClr val="FFE600"/>
              </a:buClr>
              <a:buSzPct val="100000"/>
              <a:buFont typeface="Arial" panose="020B0604020202020204" pitchFamily="34" charset="0"/>
              <a:buChar char="•"/>
              <a:defRPr/>
            </a:pPr>
            <a:r>
              <a:rPr lang="es-MX" sz="1100" i="1" kern="0" dirty="0">
                <a:solidFill>
                  <a:schemeClr val="bg1"/>
                </a:solidFill>
                <a:latin typeface="Century Gothic" panose="020B0502020202020204" pitchFamily="34" charset="0"/>
              </a:rPr>
              <a:t>En los casos donde la normativa aún no está finalizada, dar seguimiento a pronunciaciones por parte de los reguladores.</a:t>
            </a:r>
          </a:p>
        </p:txBody>
      </p:sp>
    </p:spTree>
    <p:extLst>
      <p:ext uri="{BB962C8B-B14F-4D97-AF65-F5344CB8AC3E}">
        <p14:creationId xmlns:p14="http://schemas.microsoft.com/office/powerpoint/2010/main" val="993957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7A484-233A-3CA8-30F1-4F5A888B4682}"/>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1609A28B-044C-9470-9570-2F5A229D639E}"/>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3B69FC11-7393-9A5C-6F2C-C0663A23B211}"/>
              </a:ext>
            </a:extLst>
          </p:cNvPr>
          <p:cNvPicPr>
            <a:picLocks noChangeAspect="1"/>
          </p:cNvPicPr>
          <p:nvPr/>
        </p:nvPicPr>
        <p:blipFill>
          <a:blip r:embed="rId3"/>
          <a:stretch>
            <a:fillRect/>
          </a:stretch>
        </p:blipFill>
        <p:spPr>
          <a:xfrm>
            <a:off x="-175088" y="1272045"/>
            <a:ext cx="987001" cy="976273"/>
          </a:xfrm>
          <a:prstGeom prst="rect">
            <a:avLst/>
          </a:prstGeom>
        </p:spPr>
      </p:pic>
      <p:sp>
        <p:nvSpPr>
          <p:cNvPr id="33" name="CuadroTexto 1">
            <a:extLst>
              <a:ext uri="{FF2B5EF4-FFF2-40B4-BE49-F238E27FC236}">
                <a16:creationId xmlns:a16="http://schemas.microsoft.com/office/drawing/2014/main" id="{226C2C59-FDA9-C733-F264-1FFDD5BE3316}"/>
              </a:ext>
            </a:extLst>
          </p:cNvPr>
          <p:cNvSpPr txBox="1"/>
          <p:nvPr/>
        </p:nvSpPr>
        <p:spPr>
          <a:xfrm>
            <a:off x="2801238" y="1760181"/>
            <a:ext cx="6589523" cy="1056443"/>
          </a:xfrm>
          <a:prstGeom prst="rect">
            <a:avLst/>
          </a:prstGeom>
          <a:noFill/>
        </p:spPr>
        <p:txBody>
          <a:bodyPr wrap="square" rtlCol="0">
            <a:spAutoFit/>
          </a:bodyPr>
          <a:lstStyle/>
          <a:p>
            <a:pPr algn="ctr">
              <a:lnSpc>
                <a:spcPct val="115000"/>
              </a:lnSpc>
              <a:spcAft>
                <a:spcPts val="800"/>
              </a:spcAft>
            </a:pPr>
            <a:r>
              <a:rPr lang="es-ES" sz="60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GRACIAS!</a:t>
            </a:r>
          </a:p>
        </p:txBody>
      </p:sp>
      <p:sp>
        <p:nvSpPr>
          <p:cNvPr id="38" name="Title 1">
            <a:extLst>
              <a:ext uri="{FF2B5EF4-FFF2-40B4-BE49-F238E27FC236}">
                <a16:creationId xmlns:a16="http://schemas.microsoft.com/office/drawing/2014/main" id="{2262E0C1-56AC-316D-9B2F-DE40F70ABD90}"/>
              </a:ext>
            </a:extLst>
          </p:cNvPr>
          <p:cNvSpPr txBox="1">
            <a:spLocks/>
          </p:cNvSpPr>
          <p:nvPr/>
        </p:nvSpPr>
        <p:spPr>
          <a:xfrm>
            <a:off x="4457399" y="4860182"/>
            <a:ext cx="3059494" cy="260195"/>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23438">
              <a:buClr>
                <a:srgbClr val="FFE600"/>
              </a:buClr>
              <a:buSzPct val="70000"/>
            </a:pPr>
            <a:r>
              <a:rPr lang="es-PA" sz="950" b="1" dirty="0">
                <a:solidFill>
                  <a:srgbClr val="5F2364"/>
                </a:solidFill>
                <a:latin typeface="EYInterstate Light"/>
              </a:rPr>
              <a:t>Ana Cortez</a:t>
            </a:r>
            <a:endParaRPr lang="es-PA" sz="955" b="1" dirty="0">
              <a:solidFill>
                <a:srgbClr val="5F2364"/>
              </a:solidFill>
              <a:latin typeface="EYInterstate Light" panose="02000506000000020004" pitchFamily="2" charset="0"/>
            </a:endParaRPr>
          </a:p>
          <a:p>
            <a:pPr defTabSz="623438">
              <a:buClr>
                <a:srgbClr val="FFE600"/>
              </a:buClr>
              <a:buSzPct val="70000"/>
            </a:pPr>
            <a:r>
              <a:rPr lang="es-PA" sz="955" b="1" dirty="0">
                <a:solidFill>
                  <a:srgbClr val="5F2364"/>
                </a:solidFill>
                <a:latin typeface="EYInterstate Light" panose="02000506000000020004" pitchFamily="2" charset="0"/>
              </a:rPr>
              <a:t>FSO Assurance Leader</a:t>
            </a:r>
          </a:p>
          <a:p>
            <a:pPr defTabSz="623438">
              <a:buClr>
                <a:srgbClr val="FFE600"/>
              </a:buClr>
              <a:buSzPct val="70000"/>
            </a:pPr>
            <a:r>
              <a:rPr lang="es-PA" sz="950" b="1" dirty="0">
                <a:latin typeface="EYInterstate Light"/>
              </a:rPr>
              <a:t>EY </a:t>
            </a:r>
            <a:r>
              <a:rPr lang="es-PA" sz="950" b="1" dirty="0" err="1">
                <a:latin typeface="EYInterstate Light"/>
              </a:rPr>
              <a:t>LatAM</a:t>
            </a:r>
            <a:endParaRPr lang="es-PA" sz="950" b="1" dirty="0">
              <a:latin typeface="EYInterstate Light"/>
            </a:endParaRPr>
          </a:p>
          <a:p>
            <a:pPr defTabSz="623438">
              <a:buClr>
                <a:srgbClr val="FFE600"/>
              </a:buClr>
              <a:buSzPct val="70000"/>
            </a:pPr>
            <a:r>
              <a:rPr lang="es-PA" sz="950" b="1" dirty="0">
                <a:latin typeface="EYInterstate Light"/>
              </a:rPr>
              <a:t>Ana.cortez@ey.com</a:t>
            </a:r>
          </a:p>
        </p:txBody>
      </p:sp>
      <p:pic>
        <p:nvPicPr>
          <p:cNvPr id="39" name="Picture 14">
            <a:extLst>
              <a:ext uri="{FF2B5EF4-FFF2-40B4-BE49-F238E27FC236}">
                <a16:creationId xmlns:a16="http://schemas.microsoft.com/office/drawing/2014/main" id="{96D2553D-4247-EE7A-1E79-C2F0A4B3E7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3210" y="3358627"/>
            <a:ext cx="1138089" cy="1365501"/>
          </a:xfrm>
          <a:prstGeom prst="flowChartConnector">
            <a:avLst/>
          </a:prstGeom>
        </p:spPr>
      </p:pic>
      <p:pic>
        <p:nvPicPr>
          <p:cNvPr id="40" name="Picture 2">
            <a:extLst>
              <a:ext uri="{FF2B5EF4-FFF2-40B4-BE49-F238E27FC236}">
                <a16:creationId xmlns:a16="http://schemas.microsoft.com/office/drawing/2014/main" id="{AEEAD0EF-E761-CA9D-B9F9-8113EF993735}"/>
              </a:ext>
            </a:extLst>
          </p:cNvPr>
          <p:cNvPicPr>
            <a:picLocks noChangeAspect="1"/>
          </p:cNvPicPr>
          <p:nvPr/>
        </p:nvPicPr>
        <p:blipFill>
          <a:blip r:embed="rId5"/>
          <a:stretch>
            <a:fillRect/>
          </a:stretch>
        </p:blipFill>
        <p:spPr>
          <a:xfrm>
            <a:off x="4457399" y="3358626"/>
            <a:ext cx="1011749" cy="1365501"/>
          </a:xfrm>
          <a:prstGeom prst="flowChartConnector">
            <a:avLst/>
          </a:prstGeom>
        </p:spPr>
      </p:pic>
      <p:sp>
        <p:nvSpPr>
          <p:cNvPr id="41" name="Title 1">
            <a:extLst>
              <a:ext uri="{FF2B5EF4-FFF2-40B4-BE49-F238E27FC236}">
                <a16:creationId xmlns:a16="http://schemas.microsoft.com/office/drawing/2014/main" id="{00F58589-39EA-A4E7-58AD-63709A0B2E68}"/>
              </a:ext>
            </a:extLst>
          </p:cNvPr>
          <p:cNvSpPr txBox="1">
            <a:spLocks/>
          </p:cNvSpPr>
          <p:nvPr/>
        </p:nvSpPr>
        <p:spPr>
          <a:xfrm>
            <a:off x="6823281" y="4849167"/>
            <a:ext cx="2076035" cy="242718"/>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23438">
              <a:buClr>
                <a:srgbClr val="FFE600"/>
              </a:buClr>
              <a:buSzPct val="70000"/>
            </a:pPr>
            <a:r>
              <a:rPr lang="es-PA" sz="955" b="1" dirty="0">
                <a:solidFill>
                  <a:srgbClr val="5F2364"/>
                </a:solidFill>
                <a:latin typeface="EYInterstate Light" panose="02000506000000020004" pitchFamily="2" charset="0"/>
              </a:rPr>
              <a:t>Mariana Zamora</a:t>
            </a:r>
          </a:p>
          <a:p>
            <a:pPr defTabSz="623438">
              <a:buClr>
                <a:srgbClr val="FFE600"/>
              </a:buClr>
              <a:buSzPct val="70000"/>
            </a:pPr>
            <a:r>
              <a:rPr lang="es-PA" sz="955" b="1" dirty="0">
                <a:solidFill>
                  <a:srgbClr val="5F2364"/>
                </a:solidFill>
                <a:latin typeface="EYInterstate Light" panose="02000506000000020004" pitchFamily="2" charset="0"/>
              </a:rPr>
              <a:t>Senior Manager  FSO</a:t>
            </a:r>
          </a:p>
          <a:p>
            <a:pPr defTabSz="623438">
              <a:buClr>
                <a:srgbClr val="FFE600"/>
              </a:buClr>
              <a:buSzPct val="70000"/>
            </a:pPr>
            <a:r>
              <a:rPr lang="es-PA" sz="950" b="1" dirty="0">
                <a:latin typeface="EYInterstate Light"/>
              </a:rPr>
              <a:t>EY </a:t>
            </a:r>
            <a:r>
              <a:rPr lang="es-PA" sz="950" b="1" dirty="0" err="1">
                <a:latin typeface="EYInterstate Light"/>
              </a:rPr>
              <a:t>LatAM</a:t>
            </a:r>
            <a:endParaRPr lang="es-PA" sz="950" b="1" dirty="0">
              <a:latin typeface="EYInterstate Light" panose="02000506000000020004" pitchFamily="2" charset="0"/>
            </a:endParaRPr>
          </a:p>
          <a:p>
            <a:pPr defTabSz="623438">
              <a:buClr>
                <a:srgbClr val="FFE600"/>
              </a:buClr>
              <a:buSzPct val="70000"/>
            </a:pPr>
            <a:r>
              <a:rPr lang="es-PA" sz="955" b="1" dirty="0">
                <a:latin typeface="EYInterstate Light" panose="02000506000000020004" pitchFamily="2" charset="0"/>
              </a:rPr>
              <a:t>Mariana.zamora@mx.ey.com</a:t>
            </a:r>
          </a:p>
        </p:txBody>
      </p:sp>
      <p:pic>
        <p:nvPicPr>
          <p:cNvPr id="43" name="Picture 42" descr="A yellow and black logo&#10;&#10;AI-generated content may be incorrect.">
            <a:extLst>
              <a:ext uri="{FF2B5EF4-FFF2-40B4-BE49-F238E27FC236}">
                <a16:creationId xmlns:a16="http://schemas.microsoft.com/office/drawing/2014/main" id="{A5212F5D-7B6B-894D-1DE1-5CE5CC48F093}"/>
              </a:ext>
            </a:extLst>
          </p:cNvPr>
          <p:cNvPicPr>
            <a:picLocks noChangeAspect="1"/>
          </p:cNvPicPr>
          <p:nvPr/>
        </p:nvPicPr>
        <p:blipFill>
          <a:blip r:embed="rId6"/>
          <a:stretch>
            <a:fillRect/>
          </a:stretch>
        </p:blipFill>
        <p:spPr>
          <a:xfrm>
            <a:off x="11094359" y="5664200"/>
            <a:ext cx="918566" cy="939800"/>
          </a:xfrm>
          <a:prstGeom prst="rect">
            <a:avLst/>
          </a:prstGeom>
        </p:spPr>
      </p:pic>
    </p:spTree>
    <p:extLst>
      <p:ext uri="{BB962C8B-B14F-4D97-AF65-F5344CB8AC3E}">
        <p14:creationId xmlns:p14="http://schemas.microsoft.com/office/powerpoint/2010/main" val="429457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wipe(left)">
                                      <p:cBhvr>
                                        <p:cTn id="1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2A8CAFB6-F35E-5E97-CFA5-E8A1343E9E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9327" y="2809776"/>
            <a:ext cx="1307037" cy="502026"/>
          </a:xfrm>
          <a:prstGeom prst="rect">
            <a:avLst/>
          </a:prstGeom>
        </p:spPr>
      </p:pic>
      <p:pic>
        <p:nvPicPr>
          <p:cNvPr id="8" name="Imagen 7">
            <a:extLst>
              <a:ext uri="{FF2B5EF4-FFF2-40B4-BE49-F238E27FC236}">
                <a16:creationId xmlns:a16="http://schemas.microsoft.com/office/drawing/2014/main" id="{31ABF6F2-9C6F-CDFA-9ECD-9D79F6D5E7C7}"/>
              </a:ext>
            </a:extLst>
          </p:cNvPr>
          <p:cNvPicPr>
            <a:picLocks noChangeAspect="1"/>
          </p:cNvPicPr>
          <p:nvPr/>
        </p:nvPicPr>
        <p:blipFill>
          <a:blip r:embed="rId4"/>
          <a:stretch>
            <a:fillRect/>
          </a:stretch>
        </p:blipFill>
        <p:spPr>
          <a:xfrm>
            <a:off x="4066308" y="2624115"/>
            <a:ext cx="1307037" cy="1005787"/>
          </a:xfrm>
          <a:prstGeom prst="rect">
            <a:avLst/>
          </a:prstGeom>
        </p:spPr>
      </p:pic>
      <p:pic>
        <p:nvPicPr>
          <p:cNvPr id="11" name="Imagen 10">
            <a:extLst>
              <a:ext uri="{FF2B5EF4-FFF2-40B4-BE49-F238E27FC236}">
                <a16:creationId xmlns:a16="http://schemas.microsoft.com/office/drawing/2014/main" id="{4CB39B2F-13BA-0277-0D7C-3558DBF41DB0}"/>
              </a:ext>
            </a:extLst>
          </p:cNvPr>
          <p:cNvPicPr>
            <a:picLocks noChangeAspect="1"/>
          </p:cNvPicPr>
          <p:nvPr/>
        </p:nvPicPr>
        <p:blipFill>
          <a:blip r:embed="rId5"/>
          <a:stretch>
            <a:fillRect/>
          </a:stretch>
        </p:blipFill>
        <p:spPr>
          <a:xfrm>
            <a:off x="8160521" y="2692598"/>
            <a:ext cx="1131470" cy="725301"/>
          </a:xfrm>
          <a:prstGeom prst="rect">
            <a:avLst/>
          </a:prstGeom>
        </p:spPr>
      </p:pic>
      <p:sp>
        <p:nvSpPr>
          <p:cNvPr id="14" name="Rectángulo 13">
            <a:extLst>
              <a:ext uri="{FF2B5EF4-FFF2-40B4-BE49-F238E27FC236}">
                <a16:creationId xmlns:a16="http://schemas.microsoft.com/office/drawing/2014/main" id="{63B20CFA-92C6-62ED-7726-143F7FAFB436}"/>
              </a:ext>
            </a:extLst>
          </p:cNvPr>
          <p:cNvSpPr/>
          <p:nvPr/>
        </p:nvSpPr>
        <p:spPr>
          <a:xfrm>
            <a:off x="0" y="1"/>
            <a:ext cx="12192000" cy="2413714"/>
          </a:xfrm>
          <a:prstGeom prst="rect">
            <a:avLst/>
          </a:prstGeom>
          <a:solidFill>
            <a:srgbClr val="6E44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6" name="Imagen 15" descr="Texto, Logotipo&#10;&#10;El contenido generado por IA puede ser incorrecto.">
            <a:extLst>
              <a:ext uri="{FF2B5EF4-FFF2-40B4-BE49-F238E27FC236}">
                <a16:creationId xmlns:a16="http://schemas.microsoft.com/office/drawing/2014/main" id="{20D77FED-31EB-AC5A-4B3C-6E2B4210A7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87714" y="2213658"/>
            <a:ext cx="1508748" cy="1508748"/>
          </a:xfrm>
          <a:prstGeom prst="rect">
            <a:avLst/>
          </a:prstGeom>
        </p:spPr>
      </p:pic>
      <p:pic>
        <p:nvPicPr>
          <p:cNvPr id="18" name="Imagen 17" descr="Icono&#10;&#10;El contenido generado por IA puede ser incorrecto.">
            <a:extLst>
              <a:ext uri="{FF2B5EF4-FFF2-40B4-BE49-F238E27FC236}">
                <a16:creationId xmlns:a16="http://schemas.microsoft.com/office/drawing/2014/main" id="{850F1709-EEEF-DB80-F7DC-D18BD958AD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8795" y="2669524"/>
            <a:ext cx="1808430" cy="748375"/>
          </a:xfrm>
          <a:prstGeom prst="rect">
            <a:avLst/>
          </a:prstGeom>
        </p:spPr>
      </p:pic>
      <p:pic>
        <p:nvPicPr>
          <p:cNvPr id="20" name="Imagen 19" descr="Logotipo, nombre de la empresa&#10;&#10;El contenido generado por IA puede ser incorrecto.">
            <a:extLst>
              <a:ext uri="{FF2B5EF4-FFF2-40B4-BE49-F238E27FC236}">
                <a16:creationId xmlns:a16="http://schemas.microsoft.com/office/drawing/2014/main" id="{24CDEF68-B6B9-27BB-B2EE-6C8AF8590B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2994" y="3666992"/>
            <a:ext cx="1564616" cy="1219359"/>
          </a:xfrm>
          <a:prstGeom prst="rect">
            <a:avLst/>
          </a:prstGeom>
        </p:spPr>
      </p:pic>
      <p:sp>
        <p:nvSpPr>
          <p:cNvPr id="22" name="Rectángulo 21">
            <a:extLst>
              <a:ext uri="{FF2B5EF4-FFF2-40B4-BE49-F238E27FC236}">
                <a16:creationId xmlns:a16="http://schemas.microsoft.com/office/drawing/2014/main" id="{C344AEC1-38A5-1329-4F75-4E8CD8D35833}"/>
              </a:ext>
            </a:extLst>
          </p:cNvPr>
          <p:cNvSpPr/>
          <p:nvPr/>
        </p:nvSpPr>
        <p:spPr>
          <a:xfrm>
            <a:off x="2943790" y="1717515"/>
            <a:ext cx="6144536" cy="461665"/>
          </a:xfrm>
          <a:prstGeom prst="rect">
            <a:avLst/>
          </a:prstGeom>
          <a:noFill/>
        </p:spPr>
        <p:txBody>
          <a:bodyPr wrap="square" lIns="91440" tIns="45720" rIns="91440" bIns="45720">
            <a:spAutoFit/>
          </a:bodyPr>
          <a:lstStyle/>
          <a:p>
            <a:pPr algn="ctr"/>
            <a:r>
              <a:rPr lang="es-ES" sz="2400" b="1" cap="none" spc="50" dirty="0">
                <a:ln w="0"/>
                <a:solidFill>
                  <a:schemeClr val="bg2"/>
                </a:solidFill>
                <a:effectLst>
                  <a:outerShdw blurRad="38100" dist="38100" dir="2700000" algn="tl">
                    <a:srgbClr val="000000">
                      <a:alpha val="43137"/>
                    </a:srgbClr>
                  </a:outerShdw>
                </a:effectLst>
              </a:rPr>
              <a:t>Gracias a nuestros Patrocinadores</a:t>
            </a:r>
          </a:p>
        </p:txBody>
      </p:sp>
      <p:pic>
        <p:nvPicPr>
          <p:cNvPr id="23" name="Imagen 22">
            <a:extLst>
              <a:ext uri="{FF2B5EF4-FFF2-40B4-BE49-F238E27FC236}">
                <a16:creationId xmlns:a16="http://schemas.microsoft.com/office/drawing/2014/main" id="{BF720B31-0044-5F48-ADE0-D85E91306A9B}"/>
              </a:ext>
            </a:extLst>
          </p:cNvPr>
          <p:cNvPicPr>
            <a:picLocks noChangeAspect="1"/>
          </p:cNvPicPr>
          <p:nvPr/>
        </p:nvPicPr>
        <p:blipFill>
          <a:blip r:embed="rId9"/>
          <a:stretch>
            <a:fillRect/>
          </a:stretch>
        </p:blipFill>
        <p:spPr>
          <a:xfrm>
            <a:off x="3433958" y="4220387"/>
            <a:ext cx="2149607" cy="276583"/>
          </a:xfrm>
          <a:prstGeom prst="rect">
            <a:avLst/>
          </a:prstGeom>
        </p:spPr>
      </p:pic>
      <p:pic>
        <p:nvPicPr>
          <p:cNvPr id="25" name="Imagen 24" descr="Imagen que contiene Texto&#10;&#10;El contenido generado por IA puede ser incorrecto.">
            <a:extLst>
              <a:ext uri="{FF2B5EF4-FFF2-40B4-BE49-F238E27FC236}">
                <a16:creationId xmlns:a16="http://schemas.microsoft.com/office/drawing/2014/main" id="{4E4992E8-664D-23BB-C590-AE40E508DEE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62568" y="3824105"/>
            <a:ext cx="1329423" cy="934577"/>
          </a:xfrm>
          <a:prstGeom prst="rect">
            <a:avLst/>
          </a:prstGeom>
        </p:spPr>
      </p:pic>
      <p:pic>
        <p:nvPicPr>
          <p:cNvPr id="1028" name="Picture 4" descr="Relevancia del oficial de cumplimiento de tratamiento de datos | AmCham ...">
            <a:extLst>
              <a:ext uri="{FF2B5EF4-FFF2-40B4-BE49-F238E27FC236}">
                <a16:creationId xmlns:a16="http://schemas.microsoft.com/office/drawing/2014/main" id="{F8DC16AF-2293-F9D1-7E4A-5669ECC77CC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7378" y="3722406"/>
            <a:ext cx="2487151" cy="1171042"/>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n 26" descr="Logotipo, nombre de la empresa&#10;&#10;El contenido generado por IA puede ser incorrecto.">
            <a:extLst>
              <a:ext uri="{FF2B5EF4-FFF2-40B4-BE49-F238E27FC236}">
                <a16:creationId xmlns:a16="http://schemas.microsoft.com/office/drawing/2014/main" id="{E5AE11EB-F349-90E5-46A3-CE2483C6E0F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33958" y="5244111"/>
            <a:ext cx="1926870" cy="895428"/>
          </a:xfrm>
          <a:prstGeom prst="rect">
            <a:avLst/>
          </a:prstGeom>
        </p:spPr>
      </p:pic>
      <p:pic>
        <p:nvPicPr>
          <p:cNvPr id="29" name="Imagen 28" descr="Logotipo&#10;&#10;El contenido generado por IA puede ser incorrecto.">
            <a:extLst>
              <a:ext uri="{FF2B5EF4-FFF2-40B4-BE49-F238E27FC236}">
                <a16:creationId xmlns:a16="http://schemas.microsoft.com/office/drawing/2014/main" id="{CF49BEDB-C273-5616-AFF6-CF0865CD2CE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16058" y="5322521"/>
            <a:ext cx="1976597" cy="684028"/>
          </a:xfrm>
          <a:prstGeom prst="rect">
            <a:avLst/>
          </a:prstGeom>
        </p:spPr>
      </p:pic>
      <p:pic>
        <p:nvPicPr>
          <p:cNvPr id="1030" name="Picture 6" descr="Aliatic S.A.S | LinkedIn">
            <a:extLst>
              <a:ext uri="{FF2B5EF4-FFF2-40B4-BE49-F238E27FC236}">
                <a16:creationId xmlns:a16="http://schemas.microsoft.com/office/drawing/2014/main" id="{2B00AE00-16F6-420B-E4E7-C33FE6779F5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540616" y="5075770"/>
            <a:ext cx="925722" cy="925722"/>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7">
            <a:extLst>
              <a:ext uri="{FF2B5EF4-FFF2-40B4-BE49-F238E27FC236}">
                <a16:creationId xmlns:a16="http://schemas.microsoft.com/office/drawing/2014/main" id="{1A0A5E85-A416-EEF0-B64F-54BAF9768D0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O"/>
          </a:p>
        </p:txBody>
      </p:sp>
      <p:pic>
        <p:nvPicPr>
          <p:cNvPr id="35" name="Imagen 34">
            <a:extLst>
              <a:ext uri="{FF2B5EF4-FFF2-40B4-BE49-F238E27FC236}">
                <a16:creationId xmlns:a16="http://schemas.microsoft.com/office/drawing/2014/main" id="{4F3B4BA1-DB9F-2BFF-F0C8-CAF755C7A9F0}"/>
              </a:ext>
            </a:extLst>
          </p:cNvPr>
          <p:cNvPicPr>
            <a:picLocks noChangeAspect="1"/>
          </p:cNvPicPr>
          <p:nvPr/>
        </p:nvPicPr>
        <p:blipFill>
          <a:blip r:embed="rId15"/>
          <a:stretch>
            <a:fillRect/>
          </a:stretch>
        </p:blipFill>
        <p:spPr>
          <a:xfrm>
            <a:off x="750958" y="2641064"/>
            <a:ext cx="1107822" cy="963031"/>
          </a:xfrm>
          <a:prstGeom prst="rect">
            <a:avLst/>
          </a:prstGeom>
        </p:spPr>
      </p:pic>
      <p:pic>
        <p:nvPicPr>
          <p:cNvPr id="37" name="Imagen 36">
            <a:extLst>
              <a:ext uri="{FF2B5EF4-FFF2-40B4-BE49-F238E27FC236}">
                <a16:creationId xmlns:a16="http://schemas.microsoft.com/office/drawing/2014/main" id="{B15CB6F9-4BA5-0D14-CDAB-64A88D3130DB}"/>
              </a:ext>
            </a:extLst>
          </p:cNvPr>
          <p:cNvPicPr>
            <a:picLocks noChangeAspect="1"/>
          </p:cNvPicPr>
          <p:nvPr/>
        </p:nvPicPr>
        <p:blipFill>
          <a:blip r:embed="rId16"/>
          <a:stretch>
            <a:fillRect/>
          </a:stretch>
        </p:blipFill>
        <p:spPr>
          <a:xfrm>
            <a:off x="1188523" y="5352320"/>
            <a:ext cx="1544860" cy="679009"/>
          </a:xfrm>
          <a:prstGeom prst="rect">
            <a:avLst/>
          </a:prstGeom>
        </p:spPr>
      </p:pic>
      <p:pic>
        <p:nvPicPr>
          <p:cNvPr id="39" name="Imagen 38">
            <a:extLst>
              <a:ext uri="{FF2B5EF4-FFF2-40B4-BE49-F238E27FC236}">
                <a16:creationId xmlns:a16="http://schemas.microsoft.com/office/drawing/2014/main" id="{053A7CE3-F27A-2723-FE6C-4B8203343651}"/>
              </a:ext>
            </a:extLst>
          </p:cNvPr>
          <p:cNvPicPr>
            <a:picLocks noChangeAspect="1"/>
          </p:cNvPicPr>
          <p:nvPr/>
        </p:nvPicPr>
        <p:blipFill>
          <a:blip r:embed="rId17"/>
          <a:stretch>
            <a:fillRect/>
          </a:stretch>
        </p:blipFill>
        <p:spPr>
          <a:xfrm>
            <a:off x="10158738" y="3989417"/>
            <a:ext cx="1378487" cy="461940"/>
          </a:xfrm>
          <a:prstGeom prst="rect">
            <a:avLst/>
          </a:prstGeom>
        </p:spPr>
      </p:pic>
      <p:pic>
        <p:nvPicPr>
          <p:cNvPr id="41" name="Imagen 40">
            <a:extLst>
              <a:ext uri="{FF2B5EF4-FFF2-40B4-BE49-F238E27FC236}">
                <a16:creationId xmlns:a16="http://schemas.microsoft.com/office/drawing/2014/main" id="{D41E1B22-CEA6-D5CF-46FF-2059C6459D67}"/>
              </a:ext>
            </a:extLst>
          </p:cNvPr>
          <p:cNvPicPr>
            <a:picLocks noChangeAspect="1"/>
          </p:cNvPicPr>
          <p:nvPr/>
        </p:nvPicPr>
        <p:blipFill>
          <a:blip r:embed="rId18"/>
          <a:stretch>
            <a:fillRect/>
          </a:stretch>
        </p:blipFill>
        <p:spPr>
          <a:xfrm>
            <a:off x="8355412" y="5418327"/>
            <a:ext cx="1658018" cy="583165"/>
          </a:xfrm>
          <a:prstGeom prst="rect">
            <a:avLst/>
          </a:prstGeom>
        </p:spPr>
      </p:pic>
      <p:pic>
        <p:nvPicPr>
          <p:cNvPr id="43" name="Imagen 42" descr="Logotipo, nombre de la empresa&#10;&#10;El contenido generado por IA puede ser incorrecto.">
            <a:extLst>
              <a:ext uri="{FF2B5EF4-FFF2-40B4-BE49-F238E27FC236}">
                <a16:creationId xmlns:a16="http://schemas.microsoft.com/office/drawing/2014/main" id="{DC7AA49A-1DF8-2373-85EA-286F596EB9F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6418" y="13862"/>
            <a:ext cx="1842591" cy="1844434"/>
          </a:xfrm>
          <a:prstGeom prst="rect">
            <a:avLst/>
          </a:prstGeom>
        </p:spPr>
      </p:pic>
    </p:spTree>
    <p:extLst>
      <p:ext uri="{BB962C8B-B14F-4D97-AF65-F5344CB8AC3E}">
        <p14:creationId xmlns:p14="http://schemas.microsoft.com/office/powerpoint/2010/main" val="2028899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id="{4D733A5E-F966-DBD6-72DA-2EA91E50FCF9}"/>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3FA315E8-7A8C-CA80-C19E-D4187070ED02}"/>
              </a:ext>
            </a:extLst>
          </p:cNvPr>
          <p:cNvPicPr>
            <a:picLocks noChangeAspect="1"/>
          </p:cNvPicPr>
          <p:nvPr/>
        </p:nvPicPr>
        <p:blipFill>
          <a:blip r:embed="rId3"/>
          <a:stretch>
            <a:fillRect/>
          </a:stretch>
        </p:blipFill>
        <p:spPr>
          <a:xfrm>
            <a:off x="-175088" y="1272045"/>
            <a:ext cx="987001" cy="976273"/>
          </a:xfrm>
          <a:prstGeom prst="rect">
            <a:avLst/>
          </a:prstGeom>
        </p:spPr>
      </p:pic>
      <p:sp>
        <p:nvSpPr>
          <p:cNvPr id="23" name="CuadroTexto 22">
            <a:extLst>
              <a:ext uri="{FF2B5EF4-FFF2-40B4-BE49-F238E27FC236}">
                <a16:creationId xmlns:a16="http://schemas.microsoft.com/office/drawing/2014/main" id="{67F91894-AB66-BDF3-93CA-E9D8CB22A556}"/>
              </a:ext>
            </a:extLst>
          </p:cNvPr>
          <p:cNvSpPr txBox="1"/>
          <p:nvPr/>
        </p:nvSpPr>
        <p:spPr>
          <a:xfrm>
            <a:off x="644831" y="301423"/>
            <a:ext cx="9750037" cy="1462452"/>
          </a:xfrm>
          <a:prstGeom prst="rect">
            <a:avLst/>
          </a:prstGeom>
          <a:noFill/>
        </p:spPr>
        <p:txBody>
          <a:bodyPr wrap="square" rtlCol="0">
            <a:spAutoFit/>
          </a:bodyPr>
          <a:lstStyle/>
          <a:p>
            <a:pPr lvl="0">
              <a:lnSpc>
                <a:spcPct val="115000"/>
              </a:lnSpc>
            </a:pPr>
            <a:r>
              <a:rPr lang="es-ES" sz="2800" b="1" kern="100" dirty="0">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Agenda</a:t>
            </a:r>
          </a:p>
          <a:p>
            <a:pPr lvl="0">
              <a:lnSpc>
                <a:spcPct val="115000"/>
              </a:lnSpc>
            </a:pPr>
            <a:r>
              <a:rPr lang="es-CO" sz="24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rPr>
              <a:t>Auditoria Financiera: Tendencias Emergentes</a:t>
            </a:r>
          </a:p>
          <a:p>
            <a:pPr lvl="0">
              <a:lnSpc>
                <a:spcPct val="115000"/>
              </a:lnSpc>
            </a:pPr>
            <a:endParaRPr lang="es-CO"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endParaRPr>
          </a:p>
        </p:txBody>
      </p:sp>
      <p:sp>
        <p:nvSpPr>
          <p:cNvPr id="33" name="Text Placeholder 8">
            <a:extLst>
              <a:ext uri="{FF2B5EF4-FFF2-40B4-BE49-F238E27FC236}">
                <a16:creationId xmlns:a16="http://schemas.microsoft.com/office/drawing/2014/main" id="{1904CE07-F2A6-8AD0-CBBA-ED5B37BB3DA8}"/>
              </a:ext>
            </a:extLst>
          </p:cNvPr>
          <p:cNvSpPr txBox="1">
            <a:spLocks/>
          </p:cNvSpPr>
          <p:nvPr/>
        </p:nvSpPr>
        <p:spPr>
          <a:xfrm>
            <a:off x="1256394" y="1541932"/>
            <a:ext cx="1278955"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rPr>
              <a:t>1</a:t>
            </a:r>
          </a:p>
        </p:txBody>
      </p:sp>
      <p:sp>
        <p:nvSpPr>
          <p:cNvPr id="34" name="Text Placeholder 9">
            <a:extLst>
              <a:ext uri="{FF2B5EF4-FFF2-40B4-BE49-F238E27FC236}">
                <a16:creationId xmlns:a16="http://schemas.microsoft.com/office/drawing/2014/main" id="{A87B9CF8-027E-60F8-EC39-9F16508D410B}"/>
              </a:ext>
            </a:extLst>
          </p:cNvPr>
          <p:cNvSpPr txBox="1">
            <a:spLocks/>
          </p:cNvSpPr>
          <p:nvPr/>
        </p:nvSpPr>
        <p:spPr>
          <a:xfrm>
            <a:off x="811913" y="3630608"/>
            <a:ext cx="1683110" cy="2297395"/>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456971" lvl="1" indent="0" defTabSz="914400">
              <a:lnSpc>
                <a:spcPct val="85000"/>
              </a:lnSpc>
              <a:spcBef>
                <a:spcPts val="0"/>
              </a:spcBef>
              <a:spcAft>
                <a:spcPts val="600"/>
              </a:spcAft>
              <a:buClr>
                <a:schemeClr val="accent2"/>
              </a:buClr>
              <a:buSzPct val="70000"/>
              <a:buFont typeface="EYInterstate Light" panose="02000506000000020004" pitchFamily="2" charset="0"/>
              <a:buNone/>
              <a:defRPr/>
            </a:pPr>
            <a:r>
              <a:rPr lang="es-PA" sz="2000" b="1" dirty="0">
                <a:solidFill>
                  <a:srgbClr val="5F2364"/>
                </a:solidFill>
                <a:latin typeface="Century Gothic" panose="020B0502020202020204" pitchFamily="34" charset="0"/>
              </a:rPr>
              <a:t>Riesgo Climático</a:t>
            </a:r>
          </a:p>
        </p:txBody>
      </p:sp>
      <p:sp>
        <p:nvSpPr>
          <p:cNvPr id="35" name="Text Placeholder 10">
            <a:extLst>
              <a:ext uri="{FF2B5EF4-FFF2-40B4-BE49-F238E27FC236}">
                <a16:creationId xmlns:a16="http://schemas.microsoft.com/office/drawing/2014/main" id="{4952C3C4-73EA-EABE-C518-760E7E7CBAD9}"/>
              </a:ext>
            </a:extLst>
          </p:cNvPr>
          <p:cNvSpPr txBox="1">
            <a:spLocks/>
          </p:cNvSpPr>
          <p:nvPr/>
        </p:nvSpPr>
        <p:spPr>
          <a:xfrm>
            <a:off x="2947823" y="1550258"/>
            <a:ext cx="1482735"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rPr>
              <a:t>2</a:t>
            </a:r>
          </a:p>
        </p:txBody>
      </p:sp>
      <p:sp>
        <p:nvSpPr>
          <p:cNvPr id="36" name="Text Placeholder 12">
            <a:extLst>
              <a:ext uri="{FF2B5EF4-FFF2-40B4-BE49-F238E27FC236}">
                <a16:creationId xmlns:a16="http://schemas.microsoft.com/office/drawing/2014/main" id="{3AFD81A1-0831-44F3-240D-D15F82F3F352}"/>
              </a:ext>
            </a:extLst>
          </p:cNvPr>
          <p:cNvSpPr txBox="1">
            <a:spLocks/>
          </p:cNvSpPr>
          <p:nvPr/>
        </p:nvSpPr>
        <p:spPr>
          <a:xfrm>
            <a:off x="4678460" y="1548608"/>
            <a:ext cx="1049420"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rPr>
              <a:t>3</a:t>
            </a:r>
          </a:p>
        </p:txBody>
      </p:sp>
      <p:sp>
        <p:nvSpPr>
          <p:cNvPr id="37" name="Text Placeholder 14">
            <a:extLst>
              <a:ext uri="{FF2B5EF4-FFF2-40B4-BE49-F238E27FC236}">
                <a16:creationId xmlns:a16="http://schemas.microsoft.com/office/drawing/2014/main" id="{C8A09598-6348-41B4-0AAB-EA58A2849C66}"/>
              </a:ext>
            </a:extLst>
          </p:cNvPr>
          <p:cNvSpPr txBox="1">
            <a:spLocks/>
          </p:cNvSpPr>
          <p:nvPr/>
        </p:nvSpPr>
        <p:spPr>
          <a:xfrm>
            <a:off x="6419537" y="1541932"/>
            <a:ext cx="1049420"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rPr>
              <a:t>4</a:t>
            </a:r>
          </a:p>
        </p:txBody>
      </p:sp>
      <p:sp>
        <p:nvSpPr>
          <p:cNvPr id="38" name="Text Placeholder 11">
            <a:extLst>
              <a:ext uri="{FF2B5EF4-FFF2-40B4-BE49-F238E27FC236}">
                <a16:creationId xmlns:a16="http://schemas.microsoft.com/office/drawing/2014/main" id="{DB54E643-8B44-1483-38E7-E8AD993D5E50}"/>
              </a:ext>
            </a:extLst>
          </p:cNvPr>
          <p:cNvSpPr txBox="1">
            <a:spLocks/>
          </p:cNvSpPr>
          <p:nvPr/>
        </p:nvSpPr>
        <p:spPr>
          <a:xfrm>
            <a:off x="2672166" y="3630553"/>
            <a:ext cx="1616791" cy="2297503"/>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195164" lvl="1" indent="0" defTabSz="914400">
              <a:lnSpc>
                <a:spcPct val="85000"/>
              </a:lnSpc>
              <a:spcAft>
                <a:spcPts val="600"/>
              </a:spcAft>
              <a:buClr>
                <a:schemeClr val="accent2"/>
              </a:buClr>
              <a:buSzPct val="70000"/>
              <a:buFont typeface="EYInterstate Light" panose="02000506000000020004" pitchFamily="2" charset="0"/>
              <a:buNone/>
            </a:pPr>
            <a:r>
              <a:rPr lang="es-PA" sz="2000" b="1" dirty="0">
                <a:solidFill>
                  <a:srgbClr val="5F2364"/>
                </a:solidFill>
                <a:latin typeface="Century Gothic" panose="020B0502020202020204" pitchFamily="34" charset="0"/>
              </a:rPr>
              <a:t>Riesgo de Modelo </a:t>
            </a:r>
          </a:p>
          <a:p>
            <a:endParaRPr lang="en-US" dirty="0">
              <a:solidFill>
                <a:srgbClr val="5F2364"/>
              </a:solidFill>
              <a:latin typeface="Century Gothic" panose="020B0502020202020204" pitchFamily="34" charset="0"/>
            </a:endParaRPr>
          </a:p>
        </p:txBody>
      </p:sp>
      <p:sp>
        <p:nvSpPr>
          <p:cNvPr id="39" name="Text Placeholder 13">
            <a:extLst>
              <a:ext uri="{FF2B5EF4-FFF2-40B4-BE49-F238E27FC236}">
                <a16:creationId xmlns:a16="http://schemas.microsoft.com/office/drawing/2014/main" id="{B9957623-8ED6-48B9-DA5D-E55CA7D4A213}"/>
              </a:ext>
            </a:extLst>
          </p:cNvPr>
          <p:cNvSpPr txBox="1">
            <a:spLocks/>
          </p:cNvSpPr>
          <p:nvPr/>
        </p:nvSpPr>
        <p:spPr>
          <a:xfrm>
            <a:off x="4502576" y="3610016"/>
            <a:ext cx="1780624" cy="2297503"/>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lvl="1" indent="0">
              <a:buFont typeface="EYInterstate Light" panose="02000506000000020004" pitchFamily="2" charset="0"/>
              <a:buNone/>
            </a:pPr>
            <a:r>
              <a:rPr lang="es-PA" sz="2000" b="1" dirty="0">
                <a:solidFill>
                  <a:srgbClr val="5F2364"/>
                </a:solidFill>
                <a:latin typeface="Century Gothic" panose="020B0502020202020204" pitchFamily="34" charset="0"/>
              </a:rPr>
              <a:t>Derivados sobre cripto-activos</a:t>
            </a:r>
            <a:endParaRPr lang="en-US" b="1" dirty="0">
              <a:solidFill>
                <a:srgbClr val="5F2364"/>
              </a:solidFill>
              <a:latin typeface="Century Gothic" panose="020B0502020202020204" pitchFamily="34" charset="0"/>
            </a:endParaRPr>
          </a:p>
        </p:txBody>
      </p:sp>
      <p:sp>
        <p:nvSpPr>
          <p:cNvPr id="40" name="Text Placeholder 15">
            <a:extLst>
              <a:ext uri="{FF2B5EF4-FFF2-40B4-BE49-F238E27FC236}">
                <a16:creationId xmlns:a16="http://schemas.microsoft.com/office/drawing/2014/main" id="{D6BC947B-2D6F-045A-B4CC-ABFF16511ADB}"/>
              </a:ext>
            </a:extLst>
          </p:cNvPr>
          <p:cNvSpPr txBox="1">
            <a:spLocks/>
          </p:cNvSpPr>
          <p:nvPr/>
        </p:nvSpPr>
        <p:spPr>
          <a:xfrm>
            <a:off x="6294629" y="3618064"/>
            <a:ext cx="1521620" cy="2297503"/>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r>
              <a:rPr lang="es-MX" b="1" dirty="0">
                <a:solidFill>
                  <a:srgbClr val="5F2364"/>
                </a:solidFill>
                <a:latin typeface="Century Gothic" panose="020B0502020202020204" pitchFamily="34" charset="0"/>
              </a:rPr>
              <a:t>Inteligencia Artificial</a:t>
            </a:r>
          </a:p>
          <a:p>
            <a:endParaRPr lang="en-US" b="1" dirty="0">
              <a:solidFill>
                <a:srgbClr val="5F2364"/>
              </a:solidFill>
              <a:latin typeface="Century Gothic" panose="020B0502020202020204" pitchFamily="34" charset="0"/>
            </a:endParaRPr>
          </a:p>
        </p:txBody>
      </p:sp>
      <p:sp>
        <p:nvSpPr>
          <p:cNvPr id="41" name="Text Placeholder 14">
            <a:extLst>
              <a:ext uri="{FF2B5EF4-FFF2-40B4-BE49-F238E27FC236}">
                <a16:creationId xmlns:a16="http://schemas.microsoft.com/office/drawing/2014/main" id="{2D29C0BD-CBE0-71C4-8137-1AA9FD324945}"/>
              </a:ext>
            </a:extLst>
          </p:cNvPr>
          <p:cNvSpPr txBox="1">
            <a:spLocks/>
          </p:cNvSpPr>
          <p:nvPr/>
        </p:nvSpPr>
        <p:spPr>
          <a:xfrm>
            <a:off x="8135306" y="1529634"/>
            <a:ext cx="1049420"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rPr>
              <a:t>5</a:t>
            </a:r>
          </a:p>
        </p:txBody>
      </p:sp>
      <p:cxnSp>
        <p:nvCxnSpPr>
          <p:cNvPr id="42" name="Straight Connector 41">
            <a:extLst>
              <a:ext uri="{FF2B5EF4-FFF2-40B4-BE49-F238E27FC236}">
                <a16:creationId xmlns:a16="http://schemas.microsoft.com/office/drawing/2014/main" id="{23E6CCE1-8A2C-12A1-79A0-BE07ADAFA036}"/>
              </a:ext>
            </a:extLst>
          </p:cNvPr>
          <p:cNvCxnSpPr>
            <a:cxnSpLocks/>
          </p:cNvCxnSpPr>
          <p:nvPr/>
        </p:nvCxnSpPr>
        <p:spPr>
          <a:xfrm>
            <a:off x="2601818" y="1933749"/>
            <a:ext cx="0" cy="4030998"/>
          </a:xfrm>
          <a:prstGeom prst="line">
            <a:avLst/>
          </a:prstGeom>
          <a:ln w="28575">
            <a:solidFill>
              <a:srgbClr val="E9488B"/>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75503EB-89CF-B9FC-06F3-90E82F47B114}"/>
              </a:ext>
            </a:extLst>
          </p:cNvPr>
          <p:cNvCxnSpPr>
            <a:cxnSpLocks/>
          </p:cNvCxnSpPr>
          <p:nvPr/>
        </p:nvCxnSpPr>
        <p:spPr>
          <a:xfrm>
            <a:off x="4325112" y="1936433"/>
            <a:ext cx="0" cy="4030998"/>
          </a:xfrm>
          <a:prstGeom prst="line">
            <a:avLst/>
          </a:prstGeom>
          <a:ln w="28575">
            <a:solidFill>
              <a:srgbClr val="E9488B"/>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90C7F3-2D6D-2F34-753F-6AF8CBE25796}"/>
              </a:ext>
            </a:extLst>
          </p:cNvPr>
          <p:cNvCxnSpPr>
            <a:cxnSpLocks/>
          </p:cNvCxnSpPr>
          <p:nvPr/>
        </p:nvCxnSpPr>
        <p:spPr>
          <a:xfrm>
            <a:off x="6111908" y="1933749"/>
            <a:ext cx="0" cy="4030998"/>
          </a:xfrm>
          <a:prstGeom prst="line">
            <a:avLst/>
          </a:prstGeom>
          <a:ln w="28575">
            <a:solidFill>
              <a:srgbClr val="E9488B"/>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EFAD39E-C8C6-E64C-3FCE-268959F69F6D}"/>
              </a:ext>
            </a:extLst>
          </p:cNvPr>
          <p:cNvCxnSpPr>
            <a:cxnSpLocks/>
          </p:cNvCxnSpPr>
          <p:nvPr/>
        </p:nvCxnSpPr>
        <p:spPr>
          <a:xfrm>
            <a:off x="7827678" y="1933749"/>
            <a:ext cx="0" cy="4030998"/>
          </a:xfrm>
          <a:prstGeom prst="line">
            <a:avLst/>
          </a:prstGeom>
          <a:ln w="28575">
            <a:solidFill>
              <a:srgbClr val="E9488B"/>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3299AC5-9EA5-91F3-2C5A-1218CC4CE31B}"/>
              </a:ext>
            </a:extLst>
          </p:cNvPr>
          <p:cNvCxnSpPr>
            <a:cxnSpLocks/>
          </p:cNvCxnSpPr>
          <p:nvPr/>
        </p:nvCxnSpPr>
        <p:spPr>
          <a:xfrm>
            <a:off x="9433974" y="1933749"/>
            <a:ext cx="0" cy="4030998"/>
          </a:xfrm>
          <a:prstGeom prst="line">
            <a:avLst/>
          </a:prstGeom>
          <a:ln w="28575">
            <a:solidFill>
              <a:srgbClr val="E9488B"/>
            </a:solidFill>
            <a:tailEnd type="none"/>
          </a:ln>
        </p:spPr>
        <p:style>
          <a:lnRef idx="1">
            <a:schemeClr val="accent1"/>
          </a:lnRef>
          <a:fillRef idx="0">
            <a:schemeClr val="accent1"/>
          </a:fillRef>
          <a:effectRef idx="0">
            <a:schemeClr val="accent1"/>
          </a:effectRef>
          <a:fontRef idx="minor">
            <a:schemeClr val="tx1"/>
          </a:fontRef>
        </p:style>
      </p:cxnSp>
      <p:sp>
        <p:nvSpPr>
          <p:cNvPr id="49" name="Text Placeholder 15">
            <a:extLst>
              <a:ext uri="{FF2B5EF4-FFF2-40B4-BE49-F238E27FC236}">
                <a16:creationId xmlns:a16="http://schemas.microsoft.com/office/drawing/2014/main" id="{507B6C6B-9115-A84D-D2DF-0A973F023B4A}"/>
              </a:ext>
            </a:extLst>
          </p:cNvPr>
          <p:cNvSpPr txBox="1">
            <a:spLocks/>
          </p:cNvSpPr>
          <p:nvPr/>
        </p:nvSpPr>
        <p:spPr>
          <a:xfrm>
            <a:off x="7964550" y="3618504"/>
            <a:ext cx="1521620" cy="2297503"/>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lgn="ctr"/>
            <a:r>
              <a:rPr lang="es-MX" b="1" dirty="0">
                <a:solidFill>
                  <a:srgbClr val="5F2364"/>
                </a:solidFill>
                <a:latin typeface="Century Gothic" panose="020B0502020202020204" pitchFamily="34" charset="0"/>
              </a:rPr>
              <a:t>FRTB</a:t>
            </a:r>
          </a:p>
          <a:p>
            <a:endParaRPr lang="en-US" b="1" dirty="0">
              <a:solidFill>
                <a:srgbClr val="5F2364"/>
              </a:solidFill>
              <a:latin typeface="Century Gothic" panose="020B0502020202020204" pitchFamily="34" charset="0"/>
            </a:endParaRPr>
          </a:p>
        </p:txBody>
      </p:sp>
      <p:sp>
        <p:nvSpPr>
          <p:cNvPr id="51" name="Text Placeholder 14">
            <a:extLst>
              <a:ext uri="{FF2B5EF4-FFF2-40B4-BE49-F238E27FC236}">
                <a16:creationId xmlns:a16="http://schemas.microsoft.com/office/drawing/2014/main" id="{65E2140D-882C-B972-585B-0B75767C4A72}"/>
              </a:ext>
            </a:extLst>
          </p:cNvPr>
          <p:cNvSpPr txBox="1">
            <a:spLocks/>
          </p:cNvSpPr>
          <p:nvPr/>
        </p:nvSpPr>
        <p:spPr>
          <a:xfrm>
            <a:off x="9757922" y="1548608"/>
            <a:ext cx="1049420" cy="2030268"/>
          </a:xfrm>
          <a:prstGeom prst="rect">
            <a:avLst/>
          </a:prstGeom>
        </p:spPr>
        <p:txBody>
          <a:bodyPr vert="horz" wrap="square" lIns="0" tIns="0" rIns="0" bIns="0" rtlCol="0" anchor="t" anchorCtr="0">
            <a:sp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13193"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lang="en-US" dirty="0">
                <a:solidFill>
                  <a:srgbClr val="5F2364"/>
                </a:solidFill>
                <a:latin typeface="Century Gothic" panose="020B0502020202020204" pitchFamily="34" charset="0"/>
              </a:rPr>
              <a:t>6</a:t>
            </a:r>
            <a:endParaRPr kumimoji="0" lang="en-US" sz="13193" b="0" i="0" u="none" strike="noStrike" kern="1200" cap="none" spc="0" normalizeH="0" baseline="0" noProof="0" dirty="0">
              <a:ln>
                <a:noFill/>
              </a:ln>
              <a:solidFill>
                <a:srgbClr val="5F2364"/>
              </a:solidFill>
              <a:effectLst/>
              <a:uLnTx/>
              <a:uFillTx/>
              <a:latin typeface="Century Gothic" panose="020B0502020202020204" pitchFamily="34" charset="0"/>
            </a:endParaRPr>
          </a:p>
        </p:txBody>
      </p:sp>
      <p:sp>
        <p:nvSpPr>
          <p:cNvPr id="52" name="Text Placeholder 15">
            <a:extLst>
              <a:ext uri="{FF2B5EF4-FFF2-40B4-BE49-F238E27FC236}">
                <a16:creationId xmlns:a16="http://schemas.microsoft.com/office/drawing/2014/main" id="{FFEE98D4-8FB4-805E-081C-226D08B271EB}"/>
              </a:ext>
            </a:extLst>
          </p:cNvPr>
          <p:cNvSpPr txBox="1">
            <a:spLocks/>
          </p:cNvSpPr>
          <p:nvPr/>
        </p:nvSpPr>
        <p:spPr>
          <a:xfrm>
            <a:off x="9684704" y="3630608"/>
            <a:ext cx="1270888" cy="2297503"/>
          </a:xfrm>
          <a:prstGeom prst="rect">
            <a:avLst/>
          </a:prstGeom>
        </p:spPr>
        <p:txBody>
          <a:bodyPr vert="horz" lIns="0" tIns="0" rIns="0" bIns="0"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261807" indent="-261807" algn="l" defTabSz="685434" rtl="0" eaLnBrk="1" latinLnBrk="0" hangingPunct="1">
              <a:spcBef>
                <a:spcPct val="20000"/>
              </a:spcBef>
              <a:buClr>
                <a:schemeClr val="tx2"/>
              </a:buClr>
              <a:buSzPct val="110000"/>
              <a:buFont typeface="EYInterstate Light" panose="02000506000000020004" pitchFamily="2" charset="0"/>
              <a:buChar char="•"/>
              <a:tabLst/>
              <a:defRPr sz="139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lgn="ctr"/>
            <a:r>
              <a:rPr lang="en-US" b="1" dirty="0">
                <a:solidFill>
                  <a:srgbClr val="5F2364"/>
                </a:solidFill>
                <a:latin typeface="Century Gothic" panose="020B0502020202020204" pitchFamily="34" charset="0"/>
              </a:rPr>
              <a:t>Q&amp;A</a:t>
            </a:r>
          </a:p>
        </p:txBody>
      </p:sp>
    </p:spTree>
    <p:extLst>
      <p:ext uri="{BB962C8B-B14F-4D97-AF65-F5344CB8AC3E}">
        <p14:creationId xmlns:p14="http://schemas.microsoft.com/office/powerpoint/2010/main" val="33409096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n 22" descr="Logotipo, nombre de la empresa&#10;&#10;Descripción generada automáticamente">
            <a:extLst>
              <a:ext uri="{FF2B5EF4-FFF2-40B4-BE49-F238E27FC236}">
                <a16:creationId xmlns:a16="http://schemas.microsoft.com/office/drawing/2014/main" id="{6DE08B86-3435-1CCA-21C0-5B19AF7724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7328" y="2270938"/>
            <a:ext cx="2777343" cy="2316124"/>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42B43-7832-162B-D358-45BC0BCFEAFA}"/>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2039944F-369D-091A-485A-864FE1386269}"/>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90A087A6-E75A-67B3-A7B8-45905CF369F9}"/>
              </a:ext>
            </a:extLst>
          </p:cNvPr>
          <p:cNvPicPr>
            <a:picLocks noChangeAspect="1"/>
          </p:cNvPicPr>
          <p:nvPr/>
        </p:nvPicPr>
        <p:blipFill>
          <a:blip r:embed="rId3"/>
          <a:stretch>
            <a:fillRect/>
          </a:stretch>
        </p:blipFill>
        <p:spPr>
          <a:xfrm>
            <a:off x="-175088" y="1272045"/>
            <a:ext cx="987001" cy="976273"/>
          </a:xfrm>
          <a:prstGeom prst="rect">
            <a:avLst/>
          </a:prstGeom>
        </p:spPr>
      </p:pic>
      <p:sp>
        <p:nvSpPr>
          <p:cNvPr id="23" name="CuadroTexto 22">
            <a:extLst>
              <a:ext uri="{FF2B5EF4-FFF2-40B4-BE49-F238E27FC236}">
                <a16:creationId xmlns:a16="http://schemas.microsoft.com/office/drawing/2014/main" id="{A65D9C7D-32DF-571B-7EE0-F36CBF5D8020}"/>
              </a:ext>
            </a:extLst>
          </p:cNvPr>
          <p:cNvSpPr txBox="1"/>
          <p:nvPr/>
        </p:nvSpPr>
        <p:spPr>
          <a:xfrm>
            <a:off x="318412" y="527834"/>
            <a:ext cx="9737418" cy="542200"/>
          </a:xfrm>
          <a:prstGeom prst="rect">
            <a:avLst/>
          </a:prstGeom>
          <a:noFill/>
        </p:spPr>
        <p:txBody>
          <a:bodyPr wrap="square" rtlCol="0">
            <a:spAutoFit/>
          </a:bodyPr>
          <a:lstStyle/>
          <a:p>
            <a:pPr lvl="0">
              <a:lnSpc>
                <a:spcPct val="115000"/>
              </a:lnSpc>
            </a:pPr>
            <a:r>
              <a:rPr lang="es-MX" sz="2800" b="1" kern="100" dirty="0">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Mapa conceptual de derivados emergentes post-2028</a:t>
            </a:r>
            <a:endParaRPr lang="es-MX"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endParaRPr>
          </a:p>
        </p:txBody>
      </p:sp>
      <p:cxnSp>
        <p:nvCxnSpPr>
          <p:cNvPr id="2" name="Straight Connector 8">
            <a:extLst>
              <a:ext uri="{FF2B5EF4-FFF2-40B4-BE49-F238E27FC236}">
                <a16:creationId xmlns:a16="http://schemas.microsoft.com/office/drawing/2014/main" id="{A98D26A5-3F53-9DB2-2B93-DA23CE45D865}"/>
              </a:ext>
            </a:extLst>
          </p:cNvPr>
          <p:cNvCxnSpPr>
            <a:cxnSpLocks/>
          </p:cNvCxnSpPr>
          <p:nvPr/>
        </p:nvCxnSpPr>
        <p:spPr>
          <a:xfrm>
            <a:off x="6875494" y="1703768"/>
            <a:ext cx="0" cy="1665272"/>
          </a:xfrm>
          <a:prstGeom prst="line">
            <a:avLst/>
          </a:prstGeom>
          <a:noFill/>
          <a:ln w="6350" cap="sq" cmpd="sng" algn="ctr">
            <a:solidFill>
              <a:srgbClr val="6E4494"/>
            </a:solidFill>
            <a:prstDash val="solid"/>
            <a:miter lim="800000"/>
            <a:tailEnd type="none"/>
          </a:ln>
          <a:effectLst/>
        </p:spPr>
      </p:cxnSp>
      <p:cxnSp>
        <p:nvCxnSpPr>
          <p:cNvPr id="3" name="Straight Connector 9">
            <a:extLst>
              <a:ext uri="{FF2B5EF4-FFF2-40B4-BE49-F238E27FC236}">
                <a16:creationId xmlns:a16="http://schemas.microsoft.com/office/drawing/2014/main" id="{1820EDDD-DD35-F084-956D-1792A39C92E4}"/>
              </a:ext>
            </a:extLst>
          </p:cNvPr>
          <p:cNvCxnSpPr>
            <a:cxnSpLocks/>
          </p:cNvCxnSpPr>
          <p:nvPr/>
        </p:nvCxnSpPr>
        <p:spPr>
          <a:xfrm>
            <a:off x="4891535" y="1703768"/>
            <a:ext cx="0" cy="1237698"/>
          </a:xfrm>
          <a:prstGeom prst="line">
            <a:avLst/>
          </a:prstGeom>
          <a:noFill/>
          <a:ln w="6350" cap="sq" cmpd="sng" algn="ctr">
            <a:solidFill>
              <a:srgbClr val="E9488B"/>
            </a:solidFill>
            <a:prstDash val="solid"/>
            <a:miter lim="800000"/>
            <a:tailEnd type="none"/>
          </a:ln>
          <a:effectLst/>
        </p:spPr>
      </p:cxnSp>
      <p:cxnSp>
        <p:nvCxnSpPr>
          <p:cNvPr id="4" name="Straight Connector 10">
            <a:extLst>
              <a:ext uri="{FF2B5EF4-FFF2-40B4-BE49-F238E27FC236}">
                <a16:creationId xmlns:a16="http://schemas.microsoft.com/office/drawing/2014/main" id="{BB47BED7-300E-2D2F-26CC-BD4C22E214D8}"/>
              </a:ext>
            </a:extLst>
          </p:cNvPr>
          <p:cNvCxnSpPr>
            <a:cxnSpLocks/>
          </p:cNvCxnSpPr>
          <p:nvPr/>
        </p:nvCxnSpPr>
        <p:spPr>
          <a:xfrm flipH="1" flipV="1">
            <a:off x="6748164" y="4762508"/>
            <a:ext cx="452" cy="539719"/>
          </a:xfrm>
          <a:prstGeom prst="line">
            <a:avLst/>
          </a:prstGeom>
          <a:noFill/>
          <a:ln w="6350" cap="sq" cmpd="sng" algn="ctr">
            <a:solidFill>
              <a:srgbClr val="DCC5ED"/>
            </a:solidFill>
            <a:prstDash val="solid"/>
            <a:miter lim="800000"/>
            <a:tailEnd type="none"/>
          </a:ln>
          <a:effectLst/>
        </p:spPr>
      </p:cxnSp>
      <p:cxnSp>
        <p:nvCxnSpPr>
          <p:cNvPr id="5" name="Straight Connector 11">
            <a:extLst>
              <a:ext uri="{FF2B5EF4-FFF2-40B4-BE49-F238E27FC236}">
                <a16:creationId xmlns:a16="http://schemas.microsoft.com/office/drawing/2014/main" id="{D8D0AA10-DD2B-0710-8558-7DCA11E52973}"/>
              </a:ext>
            </a:extLst>
          </p:cNvPr>
          <p:cNvCxnSpPr>
            <a:cxnSpLocks/>
          </p:cNvCxnSpPr>
          <p:nvPr/>
        </p:nvCxnSpPr>
        <p:spPr>
          <a:xfrm flipV="1">
            <a:off x="4313119" y="4066437"/>
            <a:ext cx="0" cy="835050"/>
          </a:xfrm>
          <a:prstGeom prst="line">
            <a:avLst/>
          </a:prstGeom>
          <a:noFill/>
          <a:ln w="6350" cap="sq" cmpd="sng" algn="ctr">
            <a:solidFill>
              <a:schemeClr val="accent5"/>
            </a:solidFill>
            <a:prstDash val="solid"/>
            <a:miter lim="800000"/>
            <a:tailEnd type="none"/>
          </a:ln>
          <a:effectLst/>
        </p:spPr>
      </p:cxnSp>
      <p:grpSp>
        <p:nvGrpSpPr>
          <p:cNvPr id="6" name="Graphic 85">
            <a:extLst>
              <a:ext uri="{FF2B5EF4-FFF2-40B4-BE49-F238E27FC236}">
                <a16:creationId xmlns:a16="http://schemas.microsoft.com/office/drawing/2014/main" id="{454A8221-7C7D-FC6A-EFDD-C4033456F122}"/>
              </a:ext>
            </a:extLst>
          </p:cNvPr>
          <p:cNvGrpSpPr/>
          <p:nvPr/>
        </p:nvGrpSpPr>
        <p:grpSpPr>
          <a:xfrm>
            <a:off x="4147642" y="3243801"/>
            <a:ext cx="1253305" cy="1944001"/>
            <a:chOff x="4434256" y="2954475"/>
            <a:chExt cx="1156403" cy="1793697"/>
          </a:xfrm>
          <a:solidFill>
            <a:srgbClr val="FFC639"/>
          </a:solidFill>
        </p:grpSpPr>
        <p:sp>
          <p:nvSpPr>
            <p:cNvPr id="7" name="Freeform: Shape 13">
              <a:extLst>
                <a:ext uri="{FF2B5EF4-FFF2-40B4-BE49-F238E27FC236}">
                  <a16:creationId xmlns:a16="http://schemas.microsoft.com/office/drawing/2014/main" id="{78C5F43F-1CBF-BA2C-89C9-3D30B555B29F}"/>
                </a:ext>
              </a:extLst>
            </p:cNvPr>
            <p:cNvSpPr/>
            <p:nvPr/>
          </p:nvSpPr>
          <p:spPr>
            <a:xfrm>
              <a:off x="4434256" y="2954475"/>
              <a:ext cx="1156403" cy="1793676"/>
            </a:xfrm>
            <a:custGeom>
              <a:avLst/>
              <a:gdLst>
                <a:gd name="connsiteX0" fmla="*/ 1156404 w 1156403"/>
                <a:gd name="connsiteY0" fmla="*/ 0 h 1793676"/>
                <a:gd name="connsiteX1" fmla="*/ 212992 w 1156403"/>
                <a:gd name="connsiteY1" fmla="*/ 0 h 1793676"/>
                <a:gd name="connsiteX2" fmla="*/ 212908 w 1156403"/>
                <a:gd name="connsiteY2" fmla="*/ 168 h 1793676"/>
                <a:gd name="connsiteX3" fmla="*/ 212908 w 1156403"/>
                <a:gd name="connsiteY3" fmla="*/ 0 h 1793676"/>
                <a:gd name="connsiteX4" fmla="*/ 0 w 1156403"/>
                <a:gd name="connsiteY4" fmla="*/ 0 h 1793676"/>
                <a:gd name="connsiteX5" fmla="*/ 148750 w 1156403"/>
                <a:gd name="connsiteY5" fmla="*/ 148750 h 1793676"/>
                <a:gd name="connsiteX6" fmla="*/ 67795 w 1156403"/>
                <a:gd name="connsiteY6" fmla="*/ 611437 h 1793676"/>
                <a:gd name="connsiteX7" fmla="*/ 757391 w 1156403"/>
                <a:gd name="connsiteY7" fmla="*/ 1793676 h 1793676"/>
                <a:gd name="connsiteX8" fmla="*/ 757391 w 1156403"/>
                <a:gd name="connsiteY8" fmla="*/ 611416 h 1793676"/>
                <a:gd name="connsiteX9" fmla="*/ 757706 w 1156403"/>
                <a:gd name="connsiteY9" fmla="*/ 611416 h 1793676"/>
                <a:gd name="connsiteX10" fmla="*/ 1156404 w 1156403"/>
                <a:gd name="connsiteY10" fmla="*/ 0 h 179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03" h="1793676">
                  <a:moveTo>
                    <a:pt x="1156404" y="0"/>
                  </a:moveTo>
                  <a:lnTo>
                    <a:pt x="212992" y="0"/>
                  </a:lnTo>
                  <a:lnTo>
                    <a:pt x="212908" y="168"/>
                  </a:lnTo>
                  <a:lnTo>
                    <a:pt x="212908" y="0"/>
                  </a:lnTo>
                  <a:lnTo>
                    <a:pt x="0" y="0"/>
                  </a:lnTo>
                  <a:lnTo>
                    <a:pt x="148750" y="148750"/>
                  </a:lnTo>
                  <a:cubicBezTo>
                    <a:pt x="96384" y="293169"/>
                    <a:pt x="67795" y="448939"/>
                    <a:pt x="67795" y="611437"/>
                  </a:cubicBezTo>
                  <a:cubicBezTo>
                    <a:pt x="67795" y="1118417"/>
                    <a:pt x="345681" y="1560441"/>
                    <a:pt x="757391" y="1793676"/>
                  </a:cubicBezTo>
                  <a:lnTo>
                    <a:pt x="757391" y="611416"/>
                  </a:lnTo>
                  <a:lnTo>
                    <a:pt x="757706" y="611416"/>
                  </a:lnTo>
                  <a:cubicBezTo>
                    <a:pt x="757706" y="338344"/>
                    <a:pt x="921612" y="103574"/>
                    <a:pt x="1156404" y="0"/>
                  </a:cubicBezTo>
                  <a:close/>
                </a:path>
              </a:pathLst>
            </a:custGeom>
            <a:solidFill>
              <a:schemeClr val="accent5"/>
            </a:solidFill>
            <a:ln w="2100"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8" name="Freeform: Shape 14">
              <a:extLst>
                <a:ext uri="{FF2B5EF4-FFF2-40B4-BE49-F238E27FC236}">
                  <a16:creationId xmlns:a16="http://schemas.microsoft.com/office/drawing/2014/main" id="{FD2E6012-E7D7-D3C0-1047-089B4CD02623}"/>
                </a:ext>
              </a:extLst>
            </p:cNvPr>
            <p:cNvSpPr/>
            <p:nvPr/>
          </p:nvSpPr>
          <p:spPr>
            <a:xfrm>
              <a:off x="5112394" y="2954475"/>
              <a:ext cx="478264" cy="1793697"/>
            </a:xfrm>
            <a:custGeom>
              <a:avLst/>
              <a:gdLst>
                <a:gd name="connsiteX0" fmla="*/ 0 w 478264"/>
                <a:gd name="connsiteY0" fmla="*/ 683647 h 1793697"/>
                <a:gd name="connsiteX1" fmla="*/ 0 w 478264"/>
                <a:gd name="connsiteY1" fmla="*/ 1745116 h 1793697"/>
                <a:gd name="connsiteX2" fmla="*/ 79231 w 478264"/>
                <a:gd name="connsiteY2" fmla="*/ 1793697 h 1793697"/>
                <a:gd name="connsiteX3" fmla="*/ 79231 w 478264"/>
                <a:gd name="connsiteY3" fmla="*/ 611437 h 1793697"/>
                <a:gd name="connsiteX4" fmla="*/ 79546 w 478264"/>
                <a:gd name="connsiteY4" fmla="*/ 611437 h 1793697"/>
                <a:gd name="connsiteX5" fmla="*/ 478265 w 478264"/>
                <a:gd name="connsiteY5" fmla="*/ 0 h 1793697"/>
                <a:gd name="connsiteX6" fmla="*/ 0 w 478264"/>
                <a:gd name="connsiteY6" fmla="*/ 683647 h 179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264" h="1793697">
                  <a:moveTo>
                    <a:pt x="0" y="683647"/>
                  </a:moveTo>
                  <a:lnTo>
                    <a:pt x="0" y="1745116"/>
                  </a:lnTo>
                  <a:cubicBezTo>
                    <a:pt x="25815" y="1762165"/>
                    <a:pt x="52239" y="1778394"/>
                    <a:pt x="79231" y="1793697"/>
                  </a:cubicBezTo>
                  <a:lnTo>
                    <a:pt x="79231" y="611437"/>
                  </a:lnTo>
                  <a:lnTo>
                    <a:pt x="79546" y="611437"/>
                  </a:lnTo>
                  <a:cubicBezTo>
                    <a:pt x="79546" y="338344"/>
                    <a:pt x="243452" y="103553"/>
                    <a:pt x="478265" y="0"/>
                  </a:cubicBezTo>
                  <a:cubicBezTo>
                    <a:pt x="199244" y="101745"/>
                    <a:pt x="0" y="369435"/>
                    <a:pt x="0" y="683647"/>
                  </a:cubicBezTo>
                  <a:close/>
                </a:path>
              </a:pathLst>
            </a:custGeom>
            <a:solidFill>
              <a:srgbClr val="DCC5ED"/>
            </a:solidFill>
            <a:ln w="2100" cap="flat">
              <a:solidFill>
                <a:srgbClr val="DCC5ED"/>
              </a:solid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grpSp>
      <p:grpSp>
        <p:nvGrpSpPr>
          <p:cNvPr id="11" name="Graphic 85">
            <a:extLst>
              <a:ext uri="{FF2B5EF4-FFF2-40B4-BE49-F238E27FC236}">
                <a16:creationId xmlns:a16="http://schemas.microsoft.com/office/drawing/2014/main" id="{DF95B6AF-CC72-17A2-EF50-8C72769F471B}"/>
              </a:ext>
            </a:extLst>
          </p:cNvPr>
          <p:cNvGrpSpPr/>
          <p:nvPr/>
        </p:nvGrpSpPr>
        <p:grpSpPr>
          <a:xfrm>
            <a:off x="5019131" y="4197984"/>
            <a:ext cx="1944002" cy="1253305"/>
            <a:chOff x="5248174" y="3834884"/>
            <a:chExt cx="1793697" cy="1156403"/>
          </a:xfrm>
          <a:solidFill>
            <a:srgbClr val="FFC639"/>
          </a:solidFill>
        </p:grpSpPr>
        <p:sp>
          <p:nvSpPr>
            <p:cNvPr id="12" name="Freeform: Shape 16">
              <a:extLst>
                <a:ext uri="{FF2B5EF4-FFF2-40B4-BE49-F238E27FC236}">
                  <a16:creationId xmlns:a16="http://schemas.microsoft.com/office/drawing/2014/main" id="{03EAB66F-15F6-0C0A-3153-89384A04397E}"/>
                </a:ext>
              </a:extLst>
            </p:cNvPr>
            <p:cNvSpPr/>
            <p:nvPr/>
          </p:nvSpPr>
          <p:spPr>
            <a:xfrm>
              <a:off x="5248174" y="3834884"/>
              <a:ext cx="1793676" cy="1156403"/>
            </a:xfrm>
            <a:custGeom>
              <a:avLst/>
              <a:gdLst>
                <a:gd name="connsiteX0" fmla="*/ 0 w 1793676"/>
                <a:gd name="connsiteY0" fmla="*/ 0 h 1156403"/>
                <a:gd name="connsiteX1" fmla="*/ 0 w 1793676"/>
                <a:gd name="connsiteY1" fmla="*/ 943412 h 1156403"/>
                <a:gd name="connsiteX2" fmla="*/ 168 w 1793676"/>
                <a:gd name="connsiteY2" fmla="*/ 943496 h 1156403"/>
                <a:gd name="connsiteX3" fmla="*/ 0 w 1793676"/>
                <a:gd name="connsiteY3" fmla="*/ 943496 h 1156403"/>
                <a:gd name="connsiteX4" fmla="*/ 0 w 1793676"/>
                <a:gd name="connsiteY4" fmla="*/ 1156404 h 1156403"/>
                <a:gd name="connsiteX5" fmla="*/ 148750 w 1793676"/>
                <a:gd name="connsiteY5" fmla="*/ 1007654 h 1156403"/>
                <a:gd name="connsiteX6" fmla="*/ 611437 w 1793676"/>
                <a:gd name="connsiteY6" fmla="*/ 1088630 h 1156403"/>
                <a:gd name="connsiteX7" fmla="*/ 1793676 w 1793676"/>
                <a:gd name="connsiteY7" fmla="*/ 399034 h 1156403"/>
                <a:gd name="connsiteX8" fmla="*/ 611416 w 1793676"/>
                <a:gd name="connsiteY8" fmla="*/ 399034 h 1156403"/>
                <a:gd name="connsiteX9" fmla="*/ 611416 w 1793676"/>
                <a:gd name="connsiteY9" fmla="*/ 398718 h 1156403"/>
                <a:gd name="connsiteX10" fmla="*/ 0 w 1793676"/>
                <a:gd name="connsiteY10" fmla="*/ 0 h 115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3676" h="1156403">
                  <a:moveTo>
                    <a:pt x="0" y="0"/>
                  </a:moveTo>
                  <a:lnTo>
                    <a:pt x="0" y="943412"/>
                  </a:lnTo>
                  <a:lnTo>
                    <a:pt x="168" y="943496"/>
                  </a:lnTo>
                  <a:lnTo>
                    <a:pt x="0" y="943496"/>
                  </a:lnTo>
                  <a:lnTo>
                    <a:pt x="0" y="1156404"/>
                  </a:lnTo>
                  <a:lnTo>
                    <a:pt x="148750" y="1007654"/>
                  </a:lnTo>
                  <a:cubicBezTo>
                    <a:pt x="293169" y="1060019"/>
                    <a:pt x="448939" y="1088630"/>
                    <a:pt x="611437" y="1088630"/>
                  </a:cubicBezTo>
                  <a:cubicBezTo>
                    <a:pt x="1118417" y="1088630"/>
                    <a:pt x="1560441" y="810744"/>
                    <a:pt x="1793676" y="399034"/>
                  </a:cubicBezTo>
                  <a:lnTo>
                    <a:pt x="611416" y="399034"/>
                  </a:lnTo>
                  <a:lnTo>
                    <a:pt x="611416" y="398718"/>
                  </a:lnTo>
                  <a:cubicBezTo>
                    <a:pt x="338344" y="398718"/>
                    <a:pt x="103574" y="234791"/>
                    <a:pt x="0" y="0"/>
                  </a:cubicBezTo>
                  <a:close/>
                </a:path>
              </a:pathLst>
            </a:custGeom>
            <a:solidFill>
              <a:srgbClr val="DCC5ED"/>
            </a:solidFill>
            <a:ln w="2100"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13" name="Freeform: Shape 17">
              <a:extLst>
                <a:ext uri="{FF2B5EF4-FFF2-40B4-BE49-F238E27FC236}">
                  <a16:creationId xmlns:a16="http://schemas.microsoft.com/office/drawing/2014/main" id="{B10C32E5-5E70-E694-5F03-D22F73109C9D}"/>
                </a:ext>
              </a:extLst>
            </p:cNvPr>
            <p:cNvSpPr/>
            <p:nvPr/>
          </p:nvSpPr>
          <p:spPr>
            <a:xfrm>
              <a:off x="5248174" y="3834884"/>
              <a:ext cx="1793697" cy="478264"/>
            </a:xfrm>
            <a:custGeom>
              <a:avLst/>
              <a:gdLst>
                <a:gd name="connsiteX0" fmla="*/ 683647 w 1793697"/>
                <a:gd name="connsiteY0" fmla="*/ 478265 h 478264"/>
                <a:gd name="connsiteX1" fmla="*/ 1745116 w 1793697"/>
                <a:gd name="connsiteY1" fmla="*/ 478265 h 478264"/>
                <a:gd name="connsiteX2" fmla="*/ 1793697 w 1793697"/>
                <a:gd name="connsiteY2" fmla="*/ 399034 h 478264"/>
                <a:gd name="connsiteX3" fmla="*/ 611437 w 1793697"/>
                <a:gd name="connsiteY3" fmla="*/ 399034 h 478264"/>
                <a:gd name="connsiteX4" fmla="*/ 611437 w 1793697"/>
                <a:gd name="connsiteY4" fmla="*/ 398718 h 478264"/>
                <a:gd name="connsiteX5" fmla="*/ 0 w 1793697"/>
                <a:gd name="connsiteY5" fmla="*/ 0 h 478264"/>
                <a:gd name="connsiteX6" fmla="*/ 683647 w 1793697"/>
                <a:gd name="connsiteY6" fmla="*/ 478265 h 47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697" h="478264">
                  <a:moveTo>
                    <a:pt x="683647" y="478265"/>
                  </a:moveTo>
                  <a:lnTo>
                    <a:pt x="1745116" y="478265"/>
                  </a:lnTo>
                  <a:cubicBezTo>
                    <a:pt x="1762165" y="452450"/>
                    <a:pt x="1778394" y="426026"/>
                    <a:pt x="1793697" y="399034"/>
                  </a:cubicBezTo>
                  <a:lnTo>
                    <a:pt x="611437" y="399034"/>
                  </a:lnTo>
                  <a:lnTo>
                    <a:pt x="611437" y="398718"/>
                  </a:lnTo>
                  <a:cubicBezTo>
                    <a:pt x="338344" y="398718"/>
                    <a:pt x="103553" y="234791"/>
                    <a:pt x="0" y="0"/>
                  </a:cubicBezTo>
                  <a:cubicBezTo>
                    <a:pt x="101745" y="279042"/>
                    <a:pt x="369435" y="478265"/>
                    <a:pt x="683647" y="478265"/>
                  </a:cubicBezTo>
                  <a:close/>
                </a:path>
              </a:pathLst>
            </a:custGeom>
            <a:solidFill>
              <a:srgbClr val="6E4494"/>
            </a:solidFill>
            <a:ln w="2100"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grpSp>
      <p:grpSp>
        <p:nvGrpSpPr>
          <p:cNvPr id="14" name="Graphic 85">
            <a:extLst>
              <a:ext uri="{FF2B5EF4-FFF2-40B4-BE49-F238E27FC236}">
                <a16:creationId xmlns:a16="http://schemas.microsoft.com/office/drawing/2014/main" id="{CCD83887-7ED5-FDF1-2F0B-5AE0D7691F0D}"/>
              </a:ext>
            </a:extLst>
          </p:cNvPr>
          <p:cNvGrpSpPr/>
          <p:nvPr/>
        </p:nvGrpSpPr>
        <p:grpSpPr>
          <a:xfrm>
            <a:off x="5973315" y="2625166"/>
            <a:ext cx="1253305" cy="1944001"/>
            <a:chOff x="6128583" y="2383672"/>
            <a:chExt cx="1156403" cy="1793697"/>
          </a:xfrm>
          <a:solidFill>
            <a:srgbClr val="FF4136"/>
          </a:solidFill>
        </p:grpSpPr>
        <p:sp>
          <p:nvSpPr>
            <p:cNvPr id="15" name="Freeform: Shape 19">
              <a:extLst>
                <a:ext uri="{FF2B5EF4-FFF2-40B4-BE49-F238E27FC236}">
                  <a16:creationId xmlns:a16="http://schemas.microsoft.com/office/drawing/2014/main" id="{F4FB8981-2BE8-78C4-53C8-56F3A976B61C}"/>
                </a:ext>
              </a:extLst>
            </p:cNvPr>
            <p:cNvSpPr/>
            <p:nvPr/>
          </p:nvSpPr>
          <p:spPr>
            <a:xfrm>
              <a:off x="6128583" y="2383693"/>
              <a:ext cx="1156403" cy="1793676"/>
            </a:xfrm>
            <a:custGeom>
              <a:avLst/>
              <a:gdLst>
                <a:gd name="connsiteX0" fmla="*/ 0 w 1156403"/>
                <a:gd name="connsiteY0" fmla="*/ 1793676 h 1793676"/>
                <a:gd name="connsiteX1" fmla="*/ 943412 w 1156403"/>
                <a:gd name="connsiteY1" fmla="*/ 1793676 h 1793676"/>
                <a:gd name="connsiteX2" fmla="*/ 943496 w 1156403"/>
                <a:gd name="connsiteY2" fmla="*/ 1793508 h 1793676"/>
                <a:gd name="connsiteX3" fmla="*/ 943496 w 1156403"/>
                <a:gd name="connsiteY3" fmla="*/ 1793676 h 1793676"/>
                <a:gd name="connsiteX4" fmla="*/ 1156404 w 1156403"/>
                <a:gd name="connsiteY4" fmla="*/ 1793676 h 1793676"/>
                <a:gd name="connsiteX5" fmla="*/ 1007654 w 1156403"/>
                <a:gd name="connsiteY5" fmla="*/ 1644927 h 1793676"/>
                <a:gd name="connsiteX6" fmla="*/ 1088630 w 1156403"/>
                <a:gd name="connsiteY6" fmla="*/ 1182239 h 1793676"/>
                <a:gd name="connsiteX7" fmla="*/ 399034 w 1156403"/>
                <a:gd name="connsiteY7" fmla="*/ 0 h 1793676"/>
                <a:gd name="connsiteX8" fmla="*/ 399034 w 1156403"/>
                <a:gd name="connsiteY8" fmla="*/ 1182260 h 1793676"/>
                <a:gd name="connsiteX9" fmla="*/ 398718 w 1156403"/>
                <a:gd name="connsiteY9" fmla="*/ 1182260 h 1793676"/>
                <a:gd name="connsiteX10" fmla="*/ 0 w 1156403"/>
                <a:gd name="connsiteY10" fmla="*/ 1793676 h 179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6403" h="1793676">
                  <a:moveTo>
                    <a:pt x="0" y="1793676"/>
                  </a:moveTo>
                  <a:lnTo>
                    <a:pt x="943412" y="1793676"/>
                  </a:lnTo>
                  <a:lnTo>
                    <a:pt x="943496" y="1793508"/>
                  </a:lnTo>
                  <a:lnTo>
                    <a:pt x="943496" y="1793676"/>
                  </a:lnTo>
                  <a:lnTo>
                    <a:pt x="1156404" y="1793676"/>
                  </a:lnTo>
                  <a:lnTo>
                    <a:pt x="1007654" y="1644927"/>
                  </a:lnTo>
                  <a:cubicBezTo>
                    <a:pt x="1060019" y="1500508"/>
                    <a:pt x="1088630" y="1344737"/>
                    <a:pt x="1088630" y="1182239"/>
                  </a:cubicBezTo>
                  <a:cubicBezTo>
                    <a:pt x="1088630" y="675259"/>
                    <a:pt x="810744" y="233236"/>
                    <a:pt x="399034" y="0"/>
                  </a:cubicBezTo>
                  <a:lnTo>
                    <a:pt x="399034" y="1182260"/>
                  </a:lnTo>
                  <a:lnTo>
                    <a:pt x="398718" y="1182260"/>
                  </a:lnTo>
                  <a:cubicBezTo>
                    <a:pt x="398718" y="1455332"/>
                    <a:pt x="234791" y="1690123"/>
                    <a:pt x="0" y="1793676"/>
                  </a:cubicBezTo>
                  <a:close/>
                </a:path>
              </a:pathLst>
            </a:custGeom>
            <a:solidFill>
              <a:srgbClr val="6E4494"/>
            </a:solidFill>
            <a:ln w="2100"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16" name="Freeform: Shape 20">
              <a:extLst>
                <a:ext uri="{FF2B5EF4-FFF2-40B4-BE49-F238E27FC236}">
                  <a16:creationId xmlns:a16="http://schemas.microsoft.com/office/drawing/2014/main" id="{73641FFF-0B09-6B05-36CD-7045E2AC0E04}"/>
                </a:ext>
              </a:extLst>
            </p:cNvPr>
            <p:cNvSpPr/>
            <p:nvPr/>
          </p:nvSpPr>
          <p:spPr>
            <a:xfrm>
              <a:off x="6128583" y="2383672"/>
              <a:ext cx="478264" cy="1793697"/>
            </a:xfrm>
            <a:custGeom>
              <a:avLst/>
              <a:gdLst>
                <a:gd name="connsiteX0" fmla="*/ 478265 w 478264"/>
                <a:gd name="connsiteY0" fmla="*/ 1110051 h 1793697"/>
                <a:gd name="connsiteX1" fmla="*/ 478265 w 478264"/>
                <a:gd name="connsiteY1" fmla="*/ 48581 h 1793697"/>
                <a:gd name="connsiteX2" fmla="*/ 399034 w 478264"/>
                <a:gd name="connsiteY2" fmla="*/ 0 h 1793697"/>
                <a:gd name="connsiteX3" fmla="*/ 399034 w 478264"/>
                <a:gd name="connsiteY3" fmla="*/ 1182260 h 1793697"/>
                <a:gd name="connsiteX4" fmla="*/ 398718 w 478264"/>
                <a:gd name="connsiteY4" fmla="*/ 1182260 h 1793697"/>
                <a:gd name="connsiteX5" fmla="*/ 0 w 478264"/>
                <a:gd name="connsiteY5" fmla="*/ 1793697 h 1793697"/>
                <a:gd name="connsiteX6" fmla="*/ 478265 w 478264"/>
                <a:gd name="connsiteY6" fmla="*/ 1110051 h 179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264" h="1793697">
                  <a:moveTo>
                    <a:pt x="478265" y="1110051"/>
                  </a:moveTo>
                  <a:lnTo>
                    <a:pt x="478265" y="48581"/>
                  </a:lnTo>
                  <a:cubicBezTo>
                    <a:pt x="452450" y="31533"/>
                    <a:pt x="426026" y="15304"/>
                    <a:pt x="399034" y="0"/>
                  </a:cubicBezTo>
                  <a:lnTo>
                    <a:pt x="399034" y="1182260"/>
                  </a:lnTo>
                  <a:lnTo>
                    <a:pt x="398718" y="1182260"/>
                  </a:lnTo>
                  <a:cubicBezTo>
                    <a:pt x="398718" y="1455353"/>
                    <a:pt x="234791" y="1690144"/>
                    <a:pt x="0" y="1793697"/>
                  </a:cubicBezTo>
                  <a:cubicBezTo>
                    <a:pt x="279042" y="1691973"/>
                    <a:pt x="478265" y="1424283"/>
                    <a:pt x="478265" y="1110051"/>
                  </a:cubicBezTo>
                  <a:close/>
                </a:path>
              </a:pathLst>
            </a:custGeom>
            <a:solidFill>
              <a:srgbClr val="E9488B"/>
            </a:solidFill>
            <a:ln w="2100" cap="flat">
              <a:solidFill>
                <a:srgbClr val="E9488B"/>
              </a:solid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grpSp>
      <p:grpSp>
        <p:nvGrpSpPr>
          <p:cNvPr id="17" name="Graphic 85">
            <a:extLst>
              <a:ext uri="{FF2B5EF4-FFF2-40B4-BE49-F238E27FC236}">
                <a16:creationId xmlns:a16="http://schemas.microsoft.com/office/drawing/2014/main" id="{0D46272F-E2B0-882F-4F44-0F84E13657E8}"/>
              </a:ext>
            </a:extLst>
          </p:cNvPr>
          <p:cNvGrpSpPr/>
          <p:nvPr/>
        </p:nvGrpSpPr>
        <p:grpSpPr>
          <a:xfrm>
            <a:off x="4400497" y="2361679"/>
            <a:ext cx="1944002" cy="1253305"/>
            <a:chOff x="4677371" y="2140557"/>
            <a:chExt cx="1793697" cy="1156403"/>
          </a:xfrm>
          <a:solidFill>
            <a:srgbClr val="FF6D00"/>
          </a:solidFill>
        </p:grpSpPr>
        <p:sp>
          <p:nvSpPr>
            <p:cNvPr id="18" name="Freeform: Shape 22">
              <a:extLst>
                <a:ext uri="{FF2B5EF4-FFF2-40B4-BE49-F238E27FC236}">
                  <a16:creationId xmlns:a16="http://schemas.microsoft.com/office/drawing/2014/main" id="{4AC1CD97-5411-B8DF-E4AE-C0A8D8DA37AE}"/>
                </a:ext>
              </a:extLst>
            </p:cNvPr>
            <p:cNvSpPr/>
            <p:nvPr/>
          </p:nvSpPr>
          <p:spPr>
            <a:xfrm>
              <a:off x="4677392" y="2140557"/>
              <a:ext cx="1793676" cy="1156403"/>
            </a:xfrm>
            <a:custGeom>
              <a:avLst/>
              <a:gdLst>
                <a:gd name="connsiteX0" fmla="*/ 1793676 w 1793676"/>
                <a:gd name="connsiteY0" fmla="*/ 1156404 h 1156403"/>
                <a:gd name="connsiteX1" fmla="*/ 1793676 w 1793676"/>
                <a:gd name="connsiteY1" fmla="*/ 212992 h 1156403"/>
                <a:gd name="connsiteX2" fmla="*/ 1793508 w 1793676"/>
                <a:gd name="connsiteY2" fmla="*/ 212908 h 1156403"/>
                <a:gd name="connsiteX3" fmla="*/ 1793676 w 1793676"/>
                <a:gd name="connsiteY3" fmla="*/ 212908 h 1156403"/>
                <a:gd name="connsiteX4" fmla="*/ 1793676 w 1793676"/>
                <a:gd name="connsiteY4" fmla="*/ 0 h 1156403"/>
                <a:gd name="connsiteX5" fmla="*/ 1644927 w 1793676"/>
                <a:gd name="connsiteY5" fmla="*/ 148750 h 1156403"/>
                <a:gd name="connsiteX6" fmla="*/ 1182239 w 1793676"/>
                <a:gd name="connsiteY6" fmla="*/ 67795 h 1156403"/>
                <a:gd name="connsiteX7" fmla="*/ 0 w 1793676"/>
                <a:gd name="connsiteY7" fmla="*/ 757391 h 1156403"/>
                <a:gd name="connsiteX8" fmla="*/ 1182260 w 1793676"/>
                <a:gd name="connsiteY8" fmla="*/ 757391 h 1156403"/>
                <a:gd name="connsiteX9" fmla="*/ 1182260 w 1793676"/>
                <a:gd name="connsiteY9" fmla="*/ 757706 h 1156403"/>
                <a:gd name="connsiteX10" fmla="*/ 1793676 w 1793676"/>
                <a:gd name="connsiteY10" fmla="*/ 1156404 h 115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3676" h="1156403">
                  <a:moveTo>
                    <a:pt x="1793676" y="1156404"/>
                  </a:moveTo>
                  <a:lnTo>
                    <a:pt x="1793676" y="212992"/>
                  </a:lnTo>
                  <a:lnTo>
                    <a:pt x="1793508" y="212908"/>
                  </a:lnTo>
                  <a:lnTo>
                    <a:pt x="1793676" y="212908"/>
                  </a:lnTo>
                  <a:lnTo>
                    <a:pt x="1793676" y="0"/>
                  </a:lnTo>
                  <a:lnTo>
                    <a:pt x="1644927" y="148750"/>
                  </a:lnTo>
                  <a:cubicBezTo>
                    <a:pt x="1500508" y="96384"/>
                    <a:pt x="1344737" y="67795"/>
                    <a:pt x="1182239" y="67795"/>
                  </a:cubicBezTo>
                  <a:cubicBezTo>
                    <a:pt x="675259" y="67795"/>
                    <a:pt x="233236" y="345681"/>
                    <a:pt x="0" y="757391"/>
                  </a:cubicBezTo>
                  <a:lnTo>
                    <a:pt x="1182260" y="757391"/>
                  </a:lnTo>
                  <a:lnTo>
                    <a:pt x="1182260" y="757706"/>
                  </a:lnTo>
                  <a:cubicBezTo>
                    <a:pt x="1455332" y="757706"/>
                    <a:pt x="1690123" y="921612"/>
                    <a:pt x="1793676" y="1156404"/>
                  </a:cubicBezTo>
                  <a:close/>
                </a:path>
              </a:pathLst>
            </a:custGeom>
            <a:solidFill>
              <a:srgbClr val="E9488B"/>
            </a:solidFill>
            <a:ln w="2100"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19" name="Freeform: Shape 23">
              <a:extLst>
                <a:ext uri="{FF2B5EF4-FFF2-40B4-BE49-F238E27FC236}">
                  <a16:creationId xmlns:a16="http://schemas.microsoft.com/office/drawing/2014/main" id="{EA87ECA5-A5EB-14A6-2706-E537EF2318C0}"/>
                </a:ext>
              </a:extLst>
            </p:cNvPr>
            <p:cNvSpPr/>
            <p:nvPr/>
          </p:nvSpPr>
          <p:spPr>
            <a:xfrm>
              <a:off x="4677371" y="2818695"/>
              <a:ext cx="1793697" cy="478243"/>
            </a:xfrm>
            <a:custGeom>
              <a:avLst/>
              <a:gdLst>
                <a:gd name="connsiteX0" fmla="*/ 1110051 w 1793697"/>
                <a:gd name="connsiteY0" fmla="*/ 0 h 478243"/>
                <a:gd name="connsiteX1" fmla="*/ 48581 w 1793697"/>
                <a:gd name="connsiteY1" fmla="*/ 0 h 478243"/>
                <a:gd name="connsiteX2" fmla="*/ 0 w 1793697"/>
                <a:gd name="connsiteY2" fmla="*/ 79231 h 478243"/>
                <a:gd name="connsiteX3" fmla="*/ 1182260 w 1793697"/>
                <a:gd name="connsiteY3" fmla="*/ 79231 h 478243"/>
                <a:gd name="connsiteX4" fmla="*/ 1182260 w 1793697"/>
                <a:gd name="connsiteY4" fmla="*/ 79546 h 478243"/>
                <a:gd name="connsiteX5" fmla="*/ 1793697 w 1793697"/>
                <a:gd name="connsiteY5" fmla="*/ 478244 h 478243"/>
                <a:gd name="connsiteX6" fmla="*/ 1110051 w 1793697"/>
                <a:gd name="connsiteY6" fmla="*/ 0 h 47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697" h="478243">
                  <a:moveTo>
                    <a:pt x="1110051" y="0"/>
                  </a:moveTo>
                  <a:lnTo>
                    <a:pt x="48581" y="0"/>
                  </a:lnTo>
                  <a:cubicBezTo>
                    <a:pt x="31533" y="25815"/>
                    <a:pt x="15304" y="52239"/>
                    <a:pt x="0" y="79231"/>
                  </a:cubicBezTo>
                  <a:lnTo>
                    <a:pt x="1182260" y="79231"/>
                  </a:lnTo>
                  <a:lnTo>
                    <a:pt x="1182260" y="79546"/>
                  </a:lnTo>
                  <a:cubicBezTo>
                    <a:pt x="1455353" y="79546"/>
                    <a:pt x="1690144" y="243452"/>
                    <a:pt x="1793697" y="478244"/>
                  </a:cubicBezTo>
                  <a:cubicBezTo>
                    <a:pt x="1691973" y="199244"/>
                    <a:pt x="1424283" y="0"/>
                    <a:pt x="1110051" y="0"/>
                  </a:cubicBezTo>
                  <a:close/>
                </a:path>
              </a:pathLst>
            </a:custGeom>
            <a:solidFill>
              <a:schemeClr val="accent5"/>
            </a:solidFill>
            <a:ln w="2100" cap="flat">
              <a:solidFill>
                <a:schemeClr val="accent5"/>
              </a:solid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grpSp>
      <p:sp>
        <p:nvSpPr>
          <p:cNvPr id="20" name="TextBox 24">
            <a:extLst>
              <a:ext uri="{FF2B5EF4-FFF2-40B4-BE49-F238E27FC236}">
                <a16:creationId xmlns:a16="http://schemas.microsoft.com/office/drawing/2014/main" id="{29A49942-DAE3-348F-22FE-B580C156BDE9}"/>
              </a:ext>
            </a:extLst>
          </p:cNvPr>
          <p:cNvSpPr txBox="1"/>
          <p:nvPr/>
        </p:nvSpPr>
        <p:spPr>
          <a:xfrm>
            <a:off x="5138119" y="3672171"/>
            <a:ext cx="1096709" cy="457285"/>
          </a:xfrm>
          <a:prstGeom prst="rect">
            <a:avLst/>
          </a:prstGeom>
          <a:noFill/>
        </p:spPr>
        <p:txBody>
          <a:bodyPr wrap="square" lIns="0" tIns="36557" rIns="0" bIns="0" rtlCol="0">
            <a:spAutoFit/>
          </a:bodyPr>
          <a:lstStyle/>
          <a:p>
            <a:pPr marL="0" marR="0" lvl="0" indent="0" algn="ctr" defTabSz="913943" eaLnBrk="1" fontAlgn="auto" latinLnBrk="0" hangingPunct="1">
              <a:lnSpc>
                <a:spcPct val="85000"/>
              </a:lnSpc>
              <a:spcBef>
                <a:spcPts val="0"/>
              </a:spcBef>
              <a:spcAft>
                <a:spcPts val="600"/>
              </a:spcAft>
              <a:buClr>
                <a:srgbClr val="27ACAA"/>
              </a:buClr>
              <a:buSzPct val="70000"/>
              <a:buFontTx/>
              <a:buNone/>
              <a:tabLst/>
              <a:defRPr/>
            </a:pPr>
            <a:r>
              <a:rPr lang="es-MX" sz="1600" b="1" kern="0" dirty="0">
                <a:latin typeface="EY interstate light"/>
              </a:rPr>
              <a:t>Derivados emergentes</a:t>
            </a:r>
            <a:endParaRPr kumimoji="0" lang="es-MX" sz="1600" b="1" i="0" u="none" strike="noStrike" kern="0" cap="none" spc="0" normalizeH="0" baseline="0" noProof="0" dirty="0">
              <a:ln>
                <a:noFill/>
              </a:ln>
              <a:effectLst/>
              <a:uLnTx/>
              <a:uFillTx/>
              <a:latin typeface="EY interstate light"/>
            </a:endParaRPr>
          </a:p>
        </p:txBody>
      </p:sp>
      <p:sp>
        <p:nvSpPr>
          <p:cNvPr id="21" name="Rectangle 143">
            <a:extLst>
              <a:ext uri="{FF2B5EF4-FFF2-40B4-BE49-F238E27FC236}">
                <a16:creationId xmlns:a16="http://schemas.microsoft.com/office/drawing/2014/main" id="{DF6649E6-F973-8E31-ED41-47FB59858718}"/>
              </a:ext>
            </a:extLst>
          </p:cNvPr>
          <p:cNvSpPr/>
          <p:nvPr/>
        </p:nvSpPr>
        <p:spPr>
          <a:xfrm>
            <a:off x="7343207" y="1801642"/>
            <a:ext cx="4038452" cy="1384353"/>
          </a:xfrm>
          <a:prstGeom prst="rect">
            <a:avLst/>
          </a:prstGeom>
        </p:spPr>
        <p:txBody>
          <a:bodyPr wrap="square" lIns="0" tIns="0" rIns="0" bIns="0">
            <a:spAutoFit/>
          </a:bodyPr>
          <a:lstStyle/>
          <a:p>
            <a:pPr defTabSz="913836">
              <a:spcAft>
                <a:spcPts val="600"/>
              </a:spcAft>
              <a:buClr>
                <a:srgbClr val="FFE600"/>
              </a:buClr>
              <a:buSzPct val="70000"/>
              <a:defRPr/>
            </a:pPr>
            <a:r>
              <a:rPr lang="es-MX" sz="1399" kern="0" dirty="0">
                <a:latin typeface="EY interstate light"/>
                <a:ea typeface="EYInterstate Light" charset="0"/>
                <a:cs typeface="EYInterstate Light" charset="0"/>
              </a:rPr>
              <a:t>Derivados Climáticos</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Futuros y opciones de carbono</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Derivados vinculados a la sostenibilidad</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Acuerdos de Compra de Energía Renovable (</a:t>
            </a:r>
            <a:r>
              <a:rPr lang="es-MX" sz="1399" kern="0" dirty="0" err="1">
                <a:latin typeface="EY interstate light"/>
                <a:ea typeface="EYInterstate Light" charset="0"/>
                <a:cs typeface="EYInterstate Light" charset="0"/>
              </a:rPr>
              <a:t>PPAs</a:t>
            </a:r>
            <a:r>
              <a:rPr lang="es-MX" sz="1399" kern="0" dirty="0">
                <a:latin typeface="EY interstate light"/>
                <a:ea typeface="EYInterstate Light" charset="0"/>
                <a:cs typeface="EYInterstate Light" charset="0"/>
              </a:rPr>
              <a:t>)</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Agro-derivados climáticos</a:t>
            </a:r>
          </a:p>
        </p:txBody>
      </p:sp>
      <p:sp>
        <p:nvSpPr>
          <p:cNvPr id="24" name="Rectangle 143">
            <a:extLst>
              <a:ext uri="{FF2B5EF4-FFF2-40B4-BE49-F238E27FC236}">
                <a16:creationId xmlns:a16="http://schemas.microsoft.com/office/drawing/2014/main" id="{9BA4D6C0-B6C5-0299-B7A3-23B2A7136CC3}"/>
              </a:ext>
            </a:extLst>
          </p:cNvPr>
          <p:cNvSpPr/>
          <p:nvPr/>
        </p:nvSpPr>
        <p:spPr>
          <a:xfrm>
            <a:off x="6875494" y="1408201"/>
            <a:ext cx="3348714" cy="270221"/>
          </a:xfrm>
          <a:prstGeom prst="rect">
            <a:avLst/>
          </a:prstGeom>
        </p:spPr>
        <p:txBody>
          <a:bodyPr wrap="square" lIns="0" tIns="0" rIns="0" bIns="0">
            <a:spAutoFit/>
          </a:bodyPr>
          <a:lstStyle/>
          <a:p>
            <a:pPr marL="0" marR="0" lvl="0" indent="0" defTabSz="913943" eaLnBrk="1" fontAlgn="auto" latinLnBrk="0" hangingPunct="1">
              <a:lnSpc>
                <a:spcPct val="85000"/>
              </a:lnSpc>
              <a:spcBef>
                <a:spcPts val="0"/>
              </a:spcBef>
              <a:spcAft>
                <a:spcPts val="600"/>
              </a:spcAft>
              <a:buClr>
                <a:srgbClr val="27ACAA"/>
              </a:buClr>
              <a:buSzPct val="70000"/>
              <a:buFontTx/>
              <a:buNone/>
              <a:tabLst/>
              <a:defRPr/>
            </a:pPr>
            <a:r>
              <a:rPr kumimoji="0" lang="es-MX" sz="1999" b="1" i="0" u="none" strike="noStrike" kern="0" cap="none" spc="0" normalizeH="0" baseline="0" noProof="0" dirty="0">
                <a:ln>
                  <a:noFill/>
                </a:ln>
                <a:solidFill>
                  <a:srgbClr val="6E4494"/>
                </a:solidFill>
                <a:effectLst/>
                <a:uLnTx/>
                <a:uFillTx/>
                <a:latin typeface="EY interstate light"/>
              </a:rPr>
              <a:t>Climático /ESG</a:t>
            </a:r>
          </a:p>
        </p:txBody>
      </p:sp>
      <p:sp>
        <p:nvSpPr>
          <p:cNvPr id="25" name="Rectangle 143">
            <a:extLst>
              <a:ext uri="{FF2B5EF4-FFF2-40B4-BE49-F238E27FC236}">
                <a16:creationId xmlns:a16="http://schemas.microsoft.com/office/drawing/2014/main" id="{028BE2C6-97D3-C438-B1BA-49DB0A9C435C}"/>
              </a:ext>
            </a:extLst>
          </p:cNvPr>
          <p:cNvSpPr/>
          <p:nvPr/>
        </p:nvSpPr>
        <p:spPr>
          <a:xfrm>
            <a:off x="1351883" y="1822126"/>
            <a:ext cx="3970706" cy="507575"/>
          </a:xfrm>
          <a:prstGeom prst="rect">
            <a:avLst/>
          </a:prstGeom>
        </p:spPr>
        <p:txBody>
          <a:bodyPr wrap="square" lIns="0" tIns="0" rIns="0" bIns="0">
            <a:spAutoFit/>
          </a:bodyPr>
          <a:lstStyle/>
          <a:p>
            <a:pPr defTabSz="913836">
              <a:spcAft>
                <a:spcPts val="600"/>
              </a:spcAft>
              <a:buClr>
                <a:srgbClr val="FFE600"/>
              </a:buClr>
              <a:buSzPct val="70000"/>
              <a:defRPr/>
            </a:pPr>
            <a:r>
              <a:rPr lang="es-MX" sz="1399" kern="0" dirty="0">
                <a:latin typeface="EY interstate light"/>
                <a:ea typeface="EYInterstate Light" charset="0"/>
                <a:cs typeface="EYInterstate Light" charset="0"/>
              </a:rPr>
              <a:t>CDS estandarizados</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CVA Swaps</a:t>
            </a:r>
          </a:p>
        </p:txBody>
      </p:sp>
      <p:sp>
        <p:nvSpPr>
          <p:cNvPr id="26" name="Rectangle 143">
            <a:extLst>
              <a:ext uri="{FF2B5EF4-FFF2-40B4-BE49-F238E27FC236}">
                <a16:creationId xmlns:a16="http://schemas.microsoft.com/office/drawing/2014/main" id="{CD174EAC-1AB4-AB48-EF9A-326A6C92D660}"/>
              </a:ext>
            </a:extLst>
          </p:cNvPr>
          <p:cNvSpPr>
            <a:spLocks/>
          </p:cNvSpPr>
          <p:nvPr/>
        </p:nvSpPr>
        <p:spPr>
          <a:xfrm>
            <a:off x="1081061" y="1436034"/>
            <a:ext cx="1905971" cy="26385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6D00"/>
                </a:solidFill>
                <a:prstDash val="solid"/>
                <a:round/>
                <a:headEnd type="none" w="med" len="med"/>
                <a:tailEnd type="none" w="med" len="med"/>
              </a14:hiddenLine>
            </a:ext>
          </a:extLst>
        </p:spPr>
        <p:txBody>
          <a:bodyPr wrap="none" lIns="0" tIns="0" rIns="0" bIns="0">
            <a:spAutoFit/>
          </a:bodyPr>
          <a:lstStyle/>
          <a:p>
            <a:pPr marL="0" marR="0" lvl="0" indent="0" algn="ctr" defTabSz="913943" eaLnBrk="1" fontAlgn="auto" latinLnBrk="0" hangingPunct="1">
              <a:lnSpc>
                <a:spcPct val="85000"/>
              </a:lnSpc>
              <a:spcBef>
                <a:spcPts val="0"/>
              </a:spcBef>
              <a:spcAft>
                <a:spcPts val="600"/>
              </a:spcAft>
              <a:buClr>
                <a:srgbClr val="27ACAA"/>
              </a:buClr>
              <a:buSzPct val="70000"/>
              <a:buFontTx/>
              <a:buNone/>
              <a:tabLst/>
              <a:defRPr/>
            </a:pPr>
            <a:r>
              <a:rPr lang="es-MX" sz="1999" b="1" kern="0" dirty="0">
                <a:solidFill>
                  <a:srgbClr val="E9488B"/>
                </a:solidFill>
                <a:latin typeface="EY interstate light"/>
              </a:rPr>
              <a:t>Crédito post-2008</a:t>
            </a:r>
            <a:endParaRPr kumimoji="0" lang="es-MX" sz="1999" b="1" i="0" u="none" strike="noStrike" kern="0" cap="none" spc="0" normalizeH="0" baseline="0" noProof="0" dirty="0">
              <a:ln>
                <a:noFill/>
              </a:ln>
              <a:solidFill>
                <a:srgbClr val="E9488B"/>
              </a:solidFill>
              <a:effectLst/>
              <a:uLnTx/>
              <a:uFillTx/>
              <a:latin typeface="EY interstate light"/>
            </a:endParaRPr>
          </a:p>
        </p:txBody>
      </p:sp>
      <p:sp>
        <p:nvSpPr>
          <p:cNvPr id="29" name="Rectangle 32">
            <a:extLst>
              <a:ext uri="{FF2B5EF4-FFF2-40B4-BE49-F238E27FC236}">
                <a16:creationId xmlns:a16="http://schemas.microsoft.com/office/drawing/2014/main" id="{F67CA771-A72B-4F76-A3CA-AE8314FBABC3}"/>
              </a:ext>
            </a:extLst>
          </p:cNvPr>
          <p:cNvSpPr/>
          <p:nvPr/>
        </p:nvSpPr>
        <p:spPr>
          <a:xfrm>
            <a:off x="6993206" y="4974307"/>
            <a:ext cx="3941493" cy="263855"/>
          </a:xfrm>
          <a:prstGeom prst="rect">
            <a:avLst/>
          </a:prstGeom>
        </p:spPr>
        <p:txBody>
          <a:bodyPr wrap="square" lIns="0" tIns="0" rIns="0" bIns="0">
            <a:spAutoFit/>
          </a:bodyPr>
          <a:lstStyle/>
          <a:p>
            <a:pPr marL="0" marR="0" lvl="0" indent="0" defTabSz="913943" eaLnBrk="1" fontAlgn="auto" latinLnBrk="0" hangingPunct="1">
              <a:lnSpc>
                <a:spcPct val="85000"/>
              </a:lnSpc>
              <a:spcBef>
                <a:spcPts val="0"/>
              </a:spcBef>
              <a:spcAft>
                <a:spcPts val="600"/>
              </a:spcAft>
              <a:buClr>
                <a:srgbClr val="27ACAA"/>
              </a:buClr>
              <a:buSzPct val="70000"/>
              <a:buFontTx/>
              <a:buNone/>
              <a:tabLst/>
              <a:defRPr/>
            </a:pPr>
            <a:r>
              <a:rPr lang="es-MX" sz="1999" b="1" kern="0" dirty="0">
                <a:solidFill>
                  <a:srgbClr val="DCC5ED"/>
                </a:solidFill>
                <a:latin typeface="EY interstate light"/>
              </a:rPr>
              <a:t>Macroeconómico / Riesgo extremo</a:t>
            </a:r>
            <a:endParaRPr kumimoji="0" lang="es-MX" sz="1999" b="1" i="0" u="none" strike="noStrike" kern="0" cap="none" spc="0" normalizeH="0" baseline="0" noProof="0" dirty="0">
              <a:ln>
                <a:noFill/>
              </a:ln>
              <a:solidFill>
                <a:srgbClr val="DCC5ED"/>
              </a:solidFill>
              <a:effectLst/>
              <a:uLnTx/>
              <a:uFillTx/>
              <a:latin typeface="EY interstate light"/>
            </a:endParaRPr>
          </a:p>
        </p:txBody>
      </p:sp>
      <p:grpSp>
        <p:nvGrpSpPr>
          <p:cNvPr id="30" name="Group 33">
            <a:extLst>
              <a:ext uri="{FF2B5EF4-FFF2-40B4-BE49-F238E27FC236}">
                <a16:creationId xmlns:a16="http://schemas.microsoft.com/office/drawing/2014/main" id="{3052F18B-48CE-828B-7D75-316EE1931D56}"/>
              </a:ext>
            </a:extLst>
          </p:cNvPr>
          <p:cNvGrpSpPr/>
          <p:nvPr/>
        </p:nvGrpSpPr>
        <p:grpSpPr>
          <a:xfrm>
            <a:off x="6980431" y="5458791"/>
            <a:ext cx="173758" cy="749702"/>
            <a:chOff x="7325087" y="5226258"/>
            <a:chExt cx="173848" cy="750095"/>
          </a:xfrm>
        </p:grpSpPr>
        <p:sp>
          <p:nvSpPr>
            <p:cNvPr id="31" name="Oval 34">
              <a:extLst>
                <a:ext uri="{FF2B5EF4-FFF2-40B4-BE49-F238E27FC236}">
                  <a16:creationId xmlns:a16="http://schemas.microsoft.com/office/drawing/2014/main" id="{2AF0CC04-D9CD-E1BA-1FCC-6EC37695D337}"/>
                </a:ext>
              </a:extLst>
            </p:cNvPr>
            <p:cNvSpPr/>
            <p:nvPr/>
          </p:nvSpPr>
          <p:spPr>
            <a:xfrm>
              <a:off x="7325087" y="5226258"/>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33" name="Freeform 73">
              <a:extLst>
                <a:ext uri="{FF2B5EF4-FFF2-40B4-BE49-F238E27FC236}">
                  <a16:creationId xmlns:a16="http://schemas.microsoft.com/office/drawing/2014/main" id="{F94E1470-D65D-0C3C-D2A3-66B1231B8F0F}"/>
                </a:ext>
              </a:extLst>
            </p:cNvPr>
            <p:cNvSpPr>
              <a:spLocks/>
            </p:cNvSpPr>
            <p:nvPr/>
          </p:nvSpPr>
          <p:spPr bwMode="gray">
            <a:xfrm>
              <a:off x="7353081" y="5275437"/>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34" name="Oval 36">
              <a:extLst>
                <a:ext uri="{FF2B5EF4-FFF2-40B4-BE49-F238E27FC236}">
                  <a16:creationId xmlns:a16="http://schemas.microsoft.com/office/drawing/2014/main" id="{1D9F6166-408F-894D-3259-B07F1B8129B8}"/>
                </a:ext>
              </a:extLst>
            </p:cNvPr>
            <p:cNvSpPr/>
            <p:nvPr/>
          </p:nvSpPr>
          <p:spPr>
            <a:xfrm>
              <a:off x="7325087" y="550712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35" name="Freeform 73">
              <a:extLst>
                <a:ext uri="{FF2B5EF4-FFF2-40B4-BE49-F238E27FC236}">
                  <a16:creationId xmlns:a16="http://schemas.microsoft.com/office/drawing/2014/main" id="{222CED1C-C2D7-025A-7ADB-AA65A2FCEBC8}"/>
                </a:ext>
              </a:extLst>
            </p:cNvPr>
            <p:cNvSpPr>
              <a:spLocks/>
            </p:cNvSpPr>
            <p:nvPr/>
          </p:nvSpPr>
          <p:spPr bwMode="gray">
            <a:xfrm>
              <a:off x="7353081" y="555630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sp>
          <p:nvSpPr>
            <p:cNvPr id="36" name="Oval 38">
              <a:extLst>
                <a:ext uri="{FF2B5EF4-FFF2-40B4-BE49-F238E27FC236}">
                  <a16:creationId xmlns:a16="http://schemas.microsoft.com/office/drawing/2014/main" id="{8AE11642-008D-BBB2-CF25-F2B5A6AC216A}"/>
                </a:ext>
              </a:extLst>
            </p:cNvPr>
            <p:cNvSpPr/>
            <p:nvPr/>
          </p:nvSpPr>
          <p:spPr>
            <a:xfrm>
              <a:off x="7325087" y="580250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37" name="Freeform 73">
              <a:extLst>
                <a:ext uri="{FF2B5EF4-FFF2-40B4-BE49-F238E27FC236}">
                  <a16:creationId xmlns:a16="http://schemas.microsoft.com/office/drawing/2014/main" id="{19882DE8-87CA-B5E0-0E92-5FE27EAA6998}"/>
                </a:ext>
              </a:extLst>
            </p:cNvPr>
            <p:cNvSpPr>
              <a:spLocks/>
            </p:cNvSpPr>
            <p:nvPr/>
          </p:nvSpPr>
          <p:spPr bwMode="gray">
            <a:xfrm>
              <a:off x="7353081" y="585168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sp>
        <p:nvSpPr>
          <p:cNvPr id="38" name="Rectangle 143">
            <a:extLst>
              <a:ext uri="{FF2B5EF4-FFF2-40B4-BE49-F238E27FC236}">
                <a16:creationId xmlns:a16="http://schemas.microsoft.com/office/drawing/2014/main" id="{E8F53105-2698-FC9B-5D9D-9E64FD641826}"/>
              </a:ext>
            </a:extLst>
          </p:cNvPr>
          <p:cNvSpPr/>
          <p:nvPr/>
        </p:nvSpPr>
        <p:spPr>
          <a:xfrm>
            <a:off x="1319976" y="5051372"/>
            <a:ext cx="4170530" cy="1092094"/>
          </a:xfrm>
          <a:prstGeom prst="rect">
            <a:avLst/>
          </a:prstGeom>
        </p:spPr>
        <p:txBody>
          <a:bodyPr wrap="square" lIns="0" tIns="0" rIns="0" bIns="0">
            <a:spAutoFit/>
          </a:bodyPr>
          <a:lstStyle/>
          <a:p>
            <a:pPr defTabSz="913836">
              <a:spcAft>
                <a:spcPts val="600"/>
              </a:spcAft>
              <a:buClr>
                <a:srgbClr val="FFE600"/>
              </a:buClr>
              <a:buSzPct val="70000"/>
              <a:defRPr/>
            </a:pPr>
            <a:r>
              <a:rPr lang="es-MX" sz="1399" kern="0" dirty="0">
                <a:latin typeface="EY interstate light"/>
                <a:ea typeface="EYInterstate Light" charset="0"/>
                <a:cs typeface="EYInterstate Light" charset="0"/>
              </a:rPr>
              <a:t>Futuros y opciones cripto</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Swaps perpetuos</a:t>
            </a: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Derivados </a:t>
            </a:r>
            <a:r>
              <a:rPr lang="es-MX" sz="1399" kern="0" dirty="0" err="1">
                <a:latin typeface="EY interstate light"/>
                <a:ea typeface="EYInterstate Light" charset="0"/>
                <a:cs typeface="EYInterstate Light" charset="0"/>
              </a:rPr>
              <a:t>DeFi</a:t>
            </a:r>
            <a:r>
              <a:rPr lang="es-MX" sz="1399" kern="0" dirty="0">
                <a:latin typeface="EY interstate light"/>
                <a:ea typeface="EYInterstate Light" charset="0"/>
                <a:cs typeface="EYInterstate Light" charset="0"/>
              </a:rPr>
              <a:t> / </a:t>
            </a:r>
            <a:r>
              <a:rPr lang="es-MX" sz="1399" kern="0" dirty="0" err="1">
                <a:latin typeface="EY interstate light"/>
                <a:ea typeface="EYInterstate Light" charset="0"/>
                <a:cs typeface="EYInterstate Light" charset="0"/>
              </a:rPr>
              <a:t>tokenizados</a:t>
            </a:r>
            <a:endParaRPr lang="es-MX" sz="1399" kern="0" dirty="0">
              <a:latin typeface="EY interstate light"/>
              <a:ea typeface="EYInterstate Light" charset="0"/>
              <a:cs typeface="EYInterstate Light" charset="0"/>
            </a:endParaRPr>
          </a:p>
          <a:p>
            <a:pPr defTabSz="913836">
              <a:spcAft>
                <a:spcPts val="600"/>
              </a:spcAft>
              <a:buClr>
                <a:srgbClr val="FFE600"/>
              </a:buClr>
              <a:buSzPct val="70000"/>
              <a:defRPr/>
            </a:pPr>
            <a:r>
              <a:rPr lang="es-MX" sz="1399" kern="0" dirty="0">
                <a:latin typeface="EY interstate light"/>
                <a:ea typeface="EYInterstate Light" charset="0"/>
                <a:cs typeface="EYInterstate Light" charset="0"/>
              </a:rPr>
              <a:t>Flujo de Cesión Futura (Forward </a:t>
            </a:r>
            <a:r>
              <a:rPr lang="es-MX" sz="1399" kern="0" dirty="0" err="1">
                <a:latin typeface="EY interstate light"/>
                <a:ea typeface="EYInterstate Light" charset="0"/>
                <a:cs typeface="EYInterstate Light" charset="0"/>
              </a:rPr>
              <a:t>flow</a:t>
            </a:r>
            <a:r>
              <a:rPr lang="es-MX" sz="1399" kern="0" dirty="0">
                <a:latin typeface="EY interstate light"/>
                <a:ea typeface="EYInterstate Light" charset="0"/>
                <a:cs typeface="EYInterstate Light" charset="0"/>
              </a:rPr>
              <a:t>) </a:t>
            </a:r>
            <a:r>
              <a:rPr lang="es-MX" sz="1399" kern="0" dirty="0" err="1">
                <a:latin typeface="EY interstate light"/>
                <a:ea typeface="EYInterstate Light" charset="0"/>
                <a:cs typeface="EYInterstate Light" charset="0"/>
              </a:rPr>
              <a:t>fintech</a:t>
            </a:r>
            <a:endParaRPr lang="es-MX" sz="1399" kern="0" dirty="0">
              <a:latin typeface="EY interstate light"/>
              <a:ea typeface="EYInterstate Light" charset="0"/>
              <a:cs typeface="EYInterstate Light" charset="0"/>
            </a:endParaRPr>
          </a:p>
        </p:txBody>
      </p:sp>
      <p:sp>
        <p:nvSpPr>
          <p:cNvPr id="39" name="Rectangle 143">
            <a:extLst>
              <a:ext uri="{FF2B5EF4-FFF2-40B4-BE49-F238E27FC236}">
                <a16:creationId xmlns:a16="http://schemas.microsoft.com/office/drawing/2014/main" id="{701D1CDB-ECB8-4188-7A93-8214CB8AF6F6}"/>
              </a:ext>
            </a:extLst>
          </p:cNvPr>
          <p:cNvSpPr>
            <a:spLocks/>
          </p:cNvSpPr>
          <p:nvPr/>
        </p:nvSpPr>
        <p:spPr>
          <a:xfrm>
            <a:off x="1082530" y="4531122"/>
            <a:ext cx="2358836" cy="261474"/>
          </a:xfrm>
          <a:prstGeom prst="rect">
            <a:avLst/>
          </a:prstGeom>
        </p:spPr>
        <p:txBody>
          <a:bodyPr wrap="square" lIns="0" tIns="0" rIns="0" bIns="0">
            <a:spAutoFit/>
          </a:bodyPr>
          <a:lstStyle/>
          <a:p>
            <a:pPr marL="0" marR="0" lvl="0" indent="0" defTabSz="913943" eaLnBrk="1" fontAlgn="auto" latinLnBrk="0" hangingPunct="1">
              <a:lnSpc>
                <a:spcPct val="85000"/>
              </a:lnSpc>
              <a:spcBef>
                <a:spcPts val="0"/>
              </a:spcBef>
              <a:spcAft>
                <a:spcPts val="600"/>
              </a:spcAft>
              <a:buClr>
                <a:srgbClr val="27ACAA"/>
              </a:buClr>
              <a:buSzPct val="70000"/>
              <a:buFontTx/>
              <a:buNone/>
              <a:tabLst/>
              <a:defRPr/>
            </a:pPr>
            <a:r>
              <a:rPr kumimoji="0" lang="es-MX" sz="1999" b="1" i="0" u="none" strike="noStrike" kern="0" cap="none" spc="0" normalizeH="0" baseline="0" noProof="0" dirty="0">
                <a:ln>
                  <a:noFill/>
                </a:ln>
                <a:solidFill>
                  <a:schemeClr val="accent5"/>
                </a:solidFill>
                <a:effectLst/>
                <a:uLnTx/>
                <a:uFillTx/>
                <a:latin typeface="EY interstate light"/>
              </a:rPr>
              <a:t>Digital / Cripto</a:t>
            </a:r>
          </a:p>
        </p:txBody>
      </p:sp>
      <p:cxnSp>
        <p:nvCxnSpPr>
          <p:cNvPr id="41" name="Straight Connector 43">
            <a:extLst>
              <a:ext uri="{FF2B5EF4-FFF2-40B4-BE49-F238E27FC236}">
                <a16:creationId xmlns:a16="http://schemas.microsoft.com/office/drawing/2014/main" id="{36C902B6-FCBF-AB57-AC9D-E87EEF496915}"/>
              </a:ext>
            </a:extLst>
          </p:cNvPr>
          <p:cNvCxnSpPr>
            <a:cxnSpLocks/>
          </p:cNvCxnSpPr>
          <p:nvPr/>
        </p:nvCxnSpPr>
        <p:spPr>
          <a:xfrm>
            <a:off x="1082530" y="1703768"/>
            <a:ext cx="3809005" cy="0"/>
          </a:xfrm>
          <a:prstGeom prst="line">
            <a:avLst/>
          </a:prstGeom>
          <a:noFill/>
          <a:ln w="6350" cap="sq" cmpd="sng" algn="ctr">
            <a:solidFill>
              <a:srgbClr val="E9488B"/>
            </a:solidFill>
            <a:prstDash val="solid"/>
            <a:miter lim="800000"/>
            <a:tailEnd type="none"/>
          </a:ln>
          <a:effectLst/>
        </p:spPr>
      </p:cxnSp>
      <p:cxnSp>
        <p:nvCxnSpPr>
          <p:cNvPr id="42" name="Straight Connector 44">
            <a:extLst>
              <a:ext uri="{FF2B5EF4-FFF2-40B4-BE49-F238E27FC236}">
                <a16:creationId xmlns:a16="http://schemas.microsoft.com/office/drawing/2014/main" id="{81466726-0AFC-A808-646F-83FF5CEF3E69}"/>
              </a:ext>
            </a:extLst>
          </p:cNvPr>
          <p:cNvCxnSpPr>
            <a:cxnSpLocks/>
          </p:cNvCxnSpPr>
          <p:nvPr/>
        </p:nvCxnSpPr>
        <p:spPr>
          <a:xfrm flipV="1">
            <a:off x="1100420" y="4901487"/>
            <a:ext cx="3212699" cy="6625"/>
          </a:xfrm>
          <a:prstGeom prst="line">
            <a:avLst/>
          </a:prstGeom>
          <a:noFill/>
          <a:ln w="6350" cap="sq" cmpd="sng" algn="ctr">
            <a:solidFill>
              <a:schemeClr val="accent5"/>
            </a:solidFill>
            <a:prstDash val="solid"/>
            <a:miter lim="800000"/>
            <a:tailEnd type="none"/>
          </a:ln>
          <a:effectLst/>
        </p:spPr>
      </p:cxnSp>
      <p:cxnSp>
        <p:nvCxnSpPr>
          <p:cNvPr id="43" name="Straight Connector 45">
            <a:extLst>
              <a:ext uri="{FF2B5EF4-FFF2-40B4-BE49-F238E27FC236}">
                <a16:creationId xmlns:a16="http://schemas.microsoft.com/office/drawing/2014/main" id="{F0C1B741-2006-C2EF-B41D-D44F07BB48C1}"/>
              </a:ext>
            </a:extLst>
          </p:cNvPr>
          <p:cNvCxnSpPr>
            <a:cxnSpLocks/>
          </p:cNvCxnSpPr>
          <p:nvPr/>
        </p:nvCxnSpPr>
        <p:spPr>
          <a:xfrm>
            <a:off x="6875494" y="1707901"/>
            <a:ext cx="4307040" cy="0"/>
          </a:xfrm>
          <a:prstGeom prst="line">
            <a:avLst/>
          </a:prstGeom>
          <a:noFill/>
          <a:ln w="6350" cap="sq" cmpd="sng" algn="ctr">
            <a:solidFill>
              <a:srgbClr val="6E4494"/>
            </a:solidFill>
            <a:prstDash val="solid"/>
            <a:miter lim="800000"/>
            <a:tailEnd type="none"/>
          </a:ln>
          <a:effectLst/>
        </p:spPr>
      </p:cxnSp>
      <p:cxnSp>
        <p:nvCxnSpPr>
          <p:cNvPr id="44" name="Straight Connector 46">
            <a:extLst>
              <a:ext uri="{FF2B5EF4-FFF2-40B4-BE49-F238E27FC236}">
                <a16:creationId xmlns:a16="http://schemas.microsoft.com/office/drawing/2014/main" id="{0843D7B6-7AC9-0105-58F9-7C25C635ECA4}"/>
              </a:ext>
            </a:extLst>
          </p:cNvPr>
          <p:cNvCxnSpPr>
            <a:cxnSpLocks/>
          </p:cNvCxnSpPr>
          <p:nvPr/>
        </p:nvCxnSpPr>
        <p:spPr>
          <a:xfrm>
            <a:off x="6748165" y="5307997"/>
            <a:ext cx="4434369" cy="0"/>
          </a:xfrm>
          <a:prstGeom prst="line">
            <a:avLst/>
          </a:prstGeom>
          <a:noFill/>
          <a:ln w="6350" cap="sq" cmpd="sng" algn="ctr">
            <a:solidFill>
              <a:srgbClr val="DCC5ED"/>
            </a:solidFill>
            <a:prstDash val="solid"/>
            <a:miter lim="800000"/>
            <a:tailEnd type="none"/>
          </a:ln>
          <a:effectLst/>
        </p:spPr>
      </p:cxnSp>
      <p:grpSp>
        <p:nvGrpSpPr>
          <p:cNvPr id="49" name="Group 51">
            <a:extLst>
              <a:ext uri="{FF2B5EF4-FFF2-40B4-BE49-F238E27FC236}">
                <a16:creationId xmlns:a16="http://schemas.microsoft.com/office/drawing/2014/main" id="{F0BAF037-4FB9-FFB6-6818-A2858402678B}"/>
              </a:ext>
            </a:extLst>
          </p:cNvPr>
          <p:cNvGrpSpPr/>
          <p:nvPr/>
        </p:nvGrpSpPr>
        <p:grpSpPr>
          <a:xfrm>
            <a:off x="7074197" y="1805652"/>
            <a:ext cx="173758" cy="749702"/>
            <a:chOff x="7325087" y="5226258"/>
            <a:chExt cx="173848" cy="750095"/>
          </a:xfrm>
        </p:grpSpPr>
        <p:sp>
          <p:nvSpPr>
            <p:cNvPr id="50" name="Oval 52">
              <a:extLst>
                <a:ext uri="{FF2B5EF4-FFF2-40B4-BE49-F238E27FC236}">
                  <a16:creationId xmlns:a16="http://schemas.microsoft.com/office/drawing/2014/main" id="{FBF27A7C-4214-30A5-9B17-CB357D8897CC}"/>
                </a:ext>
              </a:extLst>
            </p:cNvPr>
            <p:cNvSpPr/>
            <p:nvPr/>
          </p:nvSpPr>
          <p:spPr>
            <a:xfrm>
              <a:off x="7325087" y="5226258"/>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51" name="Freeform 73">
              <a:extLst>
                <a:ext uri="{FF2B5EF4-FFF2-40B4-BE49-F238E27FC236}">
                  <a16:creationId xmlns:a16="http://schemas.microsoft.com/office/drawing/2014/main" id="{520CFA23-3384-F06B-1869-6FF7FC6EC042}"/>
                </a:ext>
              </a:extLst>
            </p:cNvPr>
            <p:cNvSpPr>
              <a:spLocks/>
            </p:cNvSpPr>
            <p:nvPr/>
          </p:nvSpPr>
          <p:spPr bwMode="gray">
            <a:xfrm>
              <a:off x="7353081" y="5275437"/>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52" name="Oval 54">
              <a:extLst>
                <a:ext uri="{FF2B5EF4-FFF2-40B4-BE49-F238E27FC236}">
                  <a16:creationId xmlns:a16="http://schemas.microsoft.com/office/drawing/2014/main" id="{4654C823-4C96-0AB1-A71A-E0A17B9D7290}"/>
                </a:ext>
              </a:extLst>
            </p:cNvPr>
            <p:cNvSpPr/>
            <p:nvPr/>
          </p:nvSpPr>
          <p:spPr>
            <a:xfrm>
              <a:off x="7325087" y="550712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53" name="Freeform 73">
              <a:extLst>
                <a:ext uri="{FF2B5EF4-FFF2-40B4-BE49-F238E27FC236}">
                  <a16:creationId xmlns:a16="http://schemas.microsoft.com/office/drawing/2014/main" id="{B301A6B9-8B23-1BDD-BFFA-ADD9AE726716}"/>
                </a:ext>
              </a:extLst>
            </p:cNvPr>
            <p:cNvSpPr>
              <a:spLocks/>
            </p:cNvSpPr>
            <p:nvPr/>
          </p:nvSpPr>
          <p:spPr bwMode="gray">
            <a:xfrm>
              <a:off x="7353081" y="555630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sp>
          <p:nvSpPr>
            <p:cNvPr id="54" name="Oval 56">
              <a:extLst>
                <a:ext uri="{FF2B5EF4-FFF2-40B4-BE49-F238E27FC236}">
                  <a16:creationId xmlns:a16="http://schemas.microsoft.com/office/drawing/2014/main" id="{D0E529E1-910A-B4D6-705E-D9B3A6900129}"/>
                </a:ext>
              </a:extLst>
            </p:cNvPr>
            <p:cNvSpPr/>
            <p:nvPr/>
          </p:nvSpPr>
          <p:spPr>
            <a:xfrm>
              <a:off x="7325087" y="580250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55" name="Freeform 73">
              <a:extLst>
                <a:ext uri="{FF2B5EF4-FFF2-40B4-BE49-F238E27FC236}">
                  <a16:creationId xmlns:a16="http://schemas.microsoft.com/office/drawing/2014/main" id="{899042EF-F4A6-51A4-0B52-8BABD3DAC440}"/>
                </a:ext>
              </a:extLst>
            </p:cNvPr>
            <p:cNvSpPr>
              <a:spLocks/>
            </p:cNvSpPr>
            <p:nvPr/>
          </p:nvSpPr>
          <p:spPr bwMode="gray">
            <a:xfrm>
              <a:off x="7353081" y="585168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56" name="Group 58">
            <a:extLst>
              <a:ext uri="{FF2B5EF4-FFF2-40B4-BE49-F238E27FC236}">
                <a16:creationId xmlns:a16="http://schemas.microsoft.com/office/drawing/2014/main" id="{890BFB90-3747-B8A4-F847-DBD7765E73C9}"/>
              </a:ext>
            </a:extLst>
          </p:cNvPr>
          <p:cNvGrpSpPr/>
          <p:nvPr/>
        </p:nvGrpSpPr>
        <p:grpSpPr>
          <a:xfrm>
            <a:off x="1070841" y="1847021"/>
            <a:ext cx="173758" cy="454477"/>
            <a:chOff x="7325087" y="5226258"/>
            <a:chExt cx="173848" cy="454715"/>
          </a:xfrm>
        </p:grpSpPr>
        <p:sp>
          <p:nvSpPr>
            <p:cNvPr id="57" name="Oval 59">
              <a:extLst>
                <a:ext uri="{FF2B5EF4-FFF2-40B4-BE49-F238E27FC236}">
                  <a16:creationId xmlns:a16="http://schemas.microsoft.com/office/drawing/2014/main" id="{B3653639-F195-1034-9BA6-29A15C33C772}"/>
                </a:ext>
              </a:extLst>
            </p:cNvPr>
            <p:cNvSpPr/>
            <p:nvPr/>
          </p:nvSpPr>
          <p:spPr>
            <a:xfrm>
              <a:off x="7325087" y="5226258"/>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58" name="Freeform 73">
              <a:extLst>
                <a:ext uri="{FF2B5EF4-FFF2-40B4-BE49-F238E27FC236}">
                  <a16:creationId xmlns:a16="http://schemas.microsoft.com/office/drawing/2014/main" id="{F6BE2385-EF31-C6F2-F6DB-A168D6FE854A}"/>
                </a:ext>
              </a:extLst>
            </p:cNvPr>
            <p:cNvSpPr>
              <a:spLocks/>
            </p:cNvSpPr>
            <p:nvPr/>
          </p:nvSpPr>
          <p:spPr bwMode="gray">
            <a:xfrm>
              <a:off x="7353081" y="5275437"/>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59" name="Oval 61">
              <a:extLst>
                <a:ext uri="{FF2B5EF4-FFF2-40B4-BE49-F238E27FC236}">
                  <a16:creationId xmlns:a16="http://schemas.microsoft.com/office/drawing/2014/main" id="{4072A7F8-75CE-1544-6D5E-686E5419C212}"/>
                </a:ext>
              </a:extLst>
            </p:cNvPr>
            <p:cNvSpPr/>
            <p:nvPr/>
          </p:nvSpPr>
          <p:spPr>
            <a:xfrm>
              <a:off x="7325087" y="550712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60" name="Freeform 73">
              <a:extLst>
                <a:ext uri="{FF2B5EF4-FFF2-40B4-BE49-F238E27FC236}">
                  <a16:creationId xmlns:a16="http://schemas.microsoft.com/office/drawing/2014/main" id="{055CF62E-4868-6256-1E5A-5B6C08AB1C67}"/>
                </a:ext>
              </a:extLst>
            </p:cNvPr>
            <p:cNvSpPr>
              <a:spLocks/>
            </p:cNvSpPr>
            <p:nvPr/>
          </p:nvSpPr>
          <p:spPr bwMode="gray">
            <a:xfrm>
              <a:off x="7353081" y="555630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63" name="Group 65">
            <a:extLst>
              <a:ext uri="{FF2B5EF4-FFF2-40B4-BE49-F238E27FC236}">
                <a16:creationId xmlns:a16="http://schemas.microsoft.com/office/drawing/2014/main" id="{042731FF-CF85-FBFD-E804-3FF2B1A0B8C0}"/>
              </a:ext>
            </a:extLst>
          </p:cNvPr>
          <p:cNvGrpSpPr/>
          <p:nvPr/>
        </p:nvGrpSpPr>
        <p:grpSpPr>
          <a:xfrm>
            <a:off x="1082530" y="5060330"/>
            <a:ext cx="173758" cy="749702"/>
            <a:chOff x="7325087" y="5226258"/>
            <a:chExt cx="173848" cy="750095"/>
          </a:xfrm>
        </p:grpSpPr>
        <p:sp>
          <p:nvSpPr>
            <p:cNvPr id="64" name="Oval 66">
              <a:extLst>
                <a:ext uri="{FF2B5EF4-FFF2-40B4-BE49-F238E27FC236}">
                  <a16:creationId xmlns:a16="http://schemas.microsoft.com/office/drawing/2014/main" id="{B84F05DB-E393-C4CC-8423-ED60BC82017C}"/>
                </a:ext>
              </a:extLst>
            </p:cNvPr>
            <p:cNvSpPr/>
            <p:nvPr/>
          </p:nvSpPr>
          <p:spPr>
            <a:xfrm>
              <a:off x="7325087" y="5226258"/>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65" name="Freeform 73">
              <a:extLst>
                <a:ext uri="{FF2B5EF4-FFF2-40B4-BE49-F238E27FC236}">
                  <a16:creationId xmlns:a16="http://schemas.microsoft.com/office/drawing/2014/main" id="{8F763885-7A39-ECA7-A16D-765797A0FA92}"/>
                </a:ext>
              </a:extLst>
            </p:cNvPr>
            <p:cNvSpPr>
              <a:spLocks/>
            </p:cNvSpPr>
            <p:nvPr/>
          </p:nvSpPr>
          <p:spPr bwMode="gray">
            <a:xfrm>
              <a:off x="7353081" y="5275437"/>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1799" b="0" i="0" u="none" strike="noStrike" kern="0" cap="none" spc="0" normalizeH="0" baseline="0" noProof="0" dirty="0">
                <a:ln>
                  <a:noFill/>
                </a:ln>
                <a:solidFill>
                  <a:srgbClr val="2E2E38"/>
                </a:solidFill>
                <a:effectLst/>
                <a:uLnTx/>
                <a:uFillTx/>
                <a:latin typeface="EY interstate light"/>
              </a:endParaRPr>
            </a:p>
          </p:txBody>
        </p:sp>
        <p:sp>
          <p:nvSpPr>
            <p:cNvPr id="66" name="Oval 68">
              <a:extLst>
                <a:ext uri="{FF2B5EF4-FFF2-40B4-BE49-F238E27FC236}">
                  <a16:creationId xmlns:a16="http://schemas.microsoft.com/office/drawing/2014/main" id="{9EFB3B9D-3407-0860-83D8-1DE32ED7FC7B}"/>
                </a:ext>
              </a:extLst>
            </p:cNvPr>
            <p:cNvSpPr/>
            <p:nvPr/>
          </p:nvSpPr>
          <p:spPr>
            <a:xfrm>
              <a:off x="7325087" y="550712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67" name="Freeform 73">
              <a:extLst>
                <a:ext uri="{FF2B5EF4-FFF2-40B4-BE49-F238E27FC236}">
                  <a16:creationId xmlns:a16="http://schemas.microsoft.com/office/drawing/2014/main" id="{B1627FB7-D9E3-E8EF-D41A-EDADD4D48173}"/>
                </a:ext>
              </a:extLst>
            </p:cNvPr>
            <p:cNvSpPr>
              <a:spLocks/>
            </p:cNvSpPr>
            <p:nvPr/>
          </p:nvSpPr>
          <p:spPr bwMode="gray">
            <a:xfrm>
              <a:off x="7353081" y="555630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sp>
          <p:nvSpPr>
            <p:cNvPr id="68" name="Oval 70">
              <a:extLst>
                <a:ext uri="{FF2B5EF4-FFF2-40B4-BE49-F238E27FC236}">
                  <a16:creationId xmlns:a16="http://schemas.microsoft.com/office/drawing/2014/main" id="{DF6E23A7-17C7-2276-E04A-A48B76DFD7A2}"/>
                </a:ext>
              </a:extLst>
            </p:cNvPr>
            <p:cNvSpPr/>
            <p:nvPr/>
          </p:nvSpPr>
          <p:spPr>
            <a:xfrm>
              <a:off x="7325087" y="5802505"/>
              <a:ext cx="173848" cy="173848"/>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69" name="Freeform 73">
              <a:extLst>
                <a:ext uri="{FF2B5EF4-FFF2-40B4-BE49-F238E27FC236}">
                  <a16:creationId xmlns:a16="http://schemas.microsoft.com/office/drawing/2014/main" id="{09FA60ED-84D9-73F0-B931-84F5732CEDB3}"/>
                </a:ext>
              </a:extLst>
            </p:cNvPr>
            <p:cNvSpPr>
              <a:spLocks/>
            </p:cNvSpPr>
            <p:nvPr/>
          </p:nvSpPr>
          <p:spPr bwMode="gray">
            <a:xfrm>
              <a:off x="7353081" y="5851684"/>
              <a:ext cx="117860" cy="9547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sp>
        <p:nvSpPr>
          <p:cNvPr id="70" name="Rectangle 143">
            <a:extLst>
              <a:ext uri="{FF2B5EF4-FFF2-40B4-BE49-F238E27FC236}">
                <a16:creationId xmlns:a16="http://schemas.microsoft.com/office/drawing/2014/main" id="{51AF5D92-FAE1-BE51-0A0E-67A6C0128665}"/>
              </a:ext>
            </a:extLst>
          </p:cNvPr>
          <p:cNvSpPr/>
          <p:nvPr/>
        </p:nvSpPr>
        <p:spPr>
          <a:xfrm>
            <a:off x="7261971" y="5425151"/>
            <a:ext cx="4540477" cy="1092094"/>
          </a:xfrm>
          <a:prstGeom prst="rect">
            <a:avLst/>
          </a:prstGeom>
        </p:spPr>
        <p:txBody>
          <a:bodyPr wrap="square" lIns="0" tIns="0" rIns="0" bIns="0">
            <a:spAutoFit/>
          </a:bodyPr>
          <a:lstStyle/>
          <a:p>
            <a:pPr lvl="0" defTabSz="913836">
              <a:spcAft>
                <a:spcPts val="600"/>
              </a:spcAft>
              <a:buClr>
                <a:srgbClr val="FFE600"/>
              </a:buClr>
              <a:buSzPct val="70000"/>
              <a:defRPr/>
            </a:pPr>
            <a:r>
              <a:rPr lang="es-MX" sz="1399" kern="0" dirty="0">
                <a:latin typeface="EY interstate light"/>
                <a:ea typeface="EYInterstate Light" charset="0"/>
                <a:cs typeface="EYInterstate Light" charset="0"/>
              </a:rPr>
              <a:t>Swaps de Varianza y volatilidad</a:t>
            </a:r>
            <a:endParaRPr kumimoji="0" lang="es-MX" sz="1399" b="0" i="0" u="none" strike="noStrike" kern="0" cap="none" spc="0" normalizeH="0" baseline="0" noProof="0" dirty="0">
              <a:ln>
                <a:noFill/>
              </a:ln>
              <a:effectLst/>
              <a:uLnTx/>
              <a:uFillTx/>
              <a:latin typeface="EY interstate light"/>
              <a:ea typeface="EYInterstate Light" charset="0"/>
              <a:cs typeface="EYInterstate Light" charset="0"/>
            </a:endParaRPr>
          </a:p>
          <a:p>
            <a:pPr marL="0" marR="0" lvl="0" indent="0" algn="l" defTabSz="913836" rtl="0" eaLnBrk="1" fontAlgn="auto" latinLnBrk="0" hangingPunct="1">
              <a:lnSpc>
                <a:spcPct val="100000"/>
              </a:lnSpc>
              <a:spcBef>
                <a:spcPts val="0"/>
              </a:spcBef>
              <a:spcAft>
                <a:spcPts val="600"/>
              </a:spcAft>
              <a:buClr>
                <a:srgbClr val="FFE600"/>
              </a:buClr>
              <a:buSzPct val="70000"/>
              <a:buFontTx/>
              <a:buNone/>
              <a:tabLst/>
              <a:defRPr/>
            </a:pPr>
            <a:r>
              <a:rPr kumimoji="0" lang="es-MX" sz="1399" b="0" i="0" u="none" strike="noStrike" kern="0" cap="none" spc="0" normalizeH="0" baseline="0" noProof="0" dirty="0">
                <a:ln>
                  <a:noFill/>
                </a:ln>
                <a:effectLst/>
                <a:uLnTx/>
                <a:uFillTx/>
                <a:latin typeface="EY interstate light"/>
                <a:ea typeface="EYInterstate Light" charset="0"/>
                <a:cs typeface="EYInterstate Light" charset="0"/>
              </a:rPr>
              <a:t>Swaps de inflación y macroeconómicos</a:t>
            </a:r>
          </a:p>
          <a:p>
            <a:pPr marL="0" marR="0" lvl="0" indent="0" algn="l" defTabSz="913836" rtl="0" eaLnBrk="1" fontAlgn="auto" latinLnBrk="0" hangingPunct="1">
              <a:lnSpc>
                <a:spcPct val="100000"/>
              </a:lnSpc>
              <a:spcBef>
                <a:spcPts val="0"/>
              </a:spcBef>
              <a:spcAft>
                <a:spcPts val="600"/>
              </a:spcAft>
              <a:buClr>
                <a:srgbClr val="FFE600"/>
              </a:buClr>
              <a:buSzPct val="70000"/>
              <a:buFontTx/>
              <a:buNone/>
              <a:tabLst/>
              <a:defRPr/>
            </a:pPr>
            <a:r>
              <a:rPr kumimoji="0" lang="es-MX" sz="1399" b="0" i="0" u="none" strike="noStrike" kern="0" cap="none" spc="0" normalizeH="0" baseline="0" noProof="0" dirty="0">
                <a:ln>
                  <a:noFill/>
                </a:ln>
                <a:effectLst/>
                <a:uLnTx/>
                <a:uFillTx/>
                <a:latin typeface="EY interstate light"/>
                <a:ea typeface="EYInterstate Light" charset="0"/>
                <a:cs typeface="EYInterstate Light" charset="0"/>
              </a:rPr>
              <a:t>Bonos pandémicos</a:t>
            </a:r>
          </a:p>
          <a:p>
            <a:pPr marL="0" marR="0" lvl="0" indent="0" algn="l" defTabSz="913836" rtl="0" eaLnBrk="1" fontAlgn="auto" latinLnBrk="0" hangingPunct="1">
              <a:lnSpc>
                <a:spcPct val="100000"/>
              </a:lnSpc>
              <a:spcBef>
                <a:spcPts val="0"/>
              </a:spcBef>
              <a:spcAft>
                <a:spcPts val="600"/>
              </a:spcAft>
              <a:buClr>
                <a:srgbClr val="FFE600"/>
              </a:buClr>
              <a:buSzPct val="70000"/>
              <a:buFontTx/>
              <a:buNone/>
              <a:tabLst/>
              <a:defRPr/>
            </a:pPr>
            <a:r>
              <a:rPr kumimoji="0" lang="es-MX" sz="1399" b="0" i="0" u="none" strike="noStrike" kern="0" cap="none" spc="0" normalizeH="0" baseline="0" noProof="0" dirty="0">
                <a:ln>
                  <a:noFill/>
                </a:ln>
                <a:effectLst/>
                <a:uLnTx/>
                <a:uFillTx/>
                <a:latin typeface="EY interstate light"/>
                <a:ea typeface="EYInterstate Light" charset="0"/>
                <a:cs typeface="EYInterstate Light" charset="0"/>
              </a:rPr>
              <a:t>Derivados de riesgo cibernético</a:t>
            </a:r>
          </a:p>
        </p:txBody>
      </p:sp>
      <p:grpSp>
        <p:nvGrpSpPr>
          <p:cNvPr id="76" name="Grupo 75">
            <a:extLst>
              <a:ext uri="{FF2B5EF4-FFF2-40B4-BE49-F238E27FC236}">
                <a16:creationId xmlns:a16="http://schemas.microsoft.com/office/drawing/2014/main" id="{BABB2AB5-2DE6-6A18-1426-DB5EC2189448}"/>
              </a:ext>
            </a:extLst>
          </p:cNvPr>
          <p:cNvGrpSpPr/>
          <p:nvPr/>
        </p:nvGrpSpPr>
        <p:grpSpPr>
          <a:xfrm>
            <a:off x="1082530" y="5931500"/>
            <a:ext cx="173758" cy="173757"/>
            <a:chOff x="1506561" y="5670479"/>
            <a:chExt cx="173758" cy="173757"/>
          </a:xfrm>
        </p:grpSpPr>
        <p:sp>
          <p:nvSpPr>
            <p:cNvPr id="74" name="Oval 70">
              <a:extLst>
                <a:ext uri="{FF2B5EF4-FFF2-40B4-BE49-F238E27FC236}">
                  <a16:creationId xmlns:a16="http://schemas.microsoft.com/office/drawing/2014/main" id="{EEA8650E-F475-3E97-96E9-053C2D6E2D65}"/>
                </a:ext>
              </a:extLst>
            </p:cNvPr>
            <p:cNvSpPr/>
            <p:nvPr/>
          </p:nvSpPr>
          <p:spPr>
            <a:xfrm>
              <a:off x="1506561" y="5670479"/>
              <a:ext cx="173758" cy="173757"/>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75" name="Freeform 73">
              <a:extLst>
                <a:ext uri="{FF2B5EF4-FFF2-40B4-BE49-F238E27FC236}">
                  <a16:creationId xmlns:a16="http://schemas.microsoft.com/office/drawing/2014/main" id="{B30AF2D4-DF51-4036-CEE8-A6B59968F2DB}"/>
                </a:ext>
              </a:extLst>
            </p:cNvPr>
            <p:cNvSpPr>
              <a:spLocks/>
            </p:cNvSpPr>
            <p:nvPr/>
          </p:nvSpPr>
          <p:spPr bwMode="gray">
            <a:xfrm>
              <a:off x="1529610" y="5722768"/>
              <a:ext cx="117799" cy="9542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77" name="Grupo 76">
            <a:extLst>
              <a:ext uri="{FF2B5EF4-FFF2-40B4-BE49-F238E27FC236}">
                <a16:creationId xmlns:a16="http://schemas.microsoft.com/office/drawing/2014/main" id="{2C7C8985-BCD8-5A6D-2EF6-07479879BF83}"/>
              </a:ext>
            </a:extLst>
          </p:cNvPr>
          <p:cNvGrpSpPr/>
          <p:nvPr/>
        </p:nvGrpSpPr>
        <p:grpSpPr>
          <a:xfrm>
            <a:off x="6980431" y="6329961"/>
            <a:ext cx="173758" cy="173757"/>
            <a:chOff x="1506561" y="5670479"/>
            <a:chExt cx="173758" cy="173757"/>
          </a:xfrm>
        </p:grpSpPr>
        <p:sp>
          <p:nvSpPr>
            <p:cNvPr id="78" name="Oval 70">
              <a:extLst>
                <a:ext uri="{FF2B5EF4-FFF2-40B4-BE49-F238E27FC236}">
                  <a16:creationId xmlns:a16="http://schemas.microsoft.com/office/drawing/2014/main" id="{494F937A-3449-C8A3-6AB4-7A7A42240B1F}"/>
                </a:ext>
              </a:extLst>
            </p:cNvPr>
            <p:cNvSpPr/>
            <p:nvPr/>
          </p:nvSpPr>
          <p:spPr>
            <a:xfrm>
              <a:off x="1506561" y="5670479"/>
              <a:ext cx="173758" cy="173757"/>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79" name="Freeform 73">
              <a:extLst>
                <a:ext uri="{FF2B5EF4-FFF2-40B4-BE49-F238E27FC236}">
                  <a16:creationId xmlns:a16="http://schemas.microsoft.com/office/drawing/2014/main" id="{422FBB97-95DB-F5E2-8315-7CB950D7B07A}"/>
                </a:ext>
              </a:extLst>
            </p:cNvPr>
            <p:cNvSpPr>
              <a:spLocks/>
            </p:cNvSpPr>
            <p:nvPr/>
          </p:nvSpPr>
          <p:spPr bwMode="gray">
            <a:xfrm>
              <a:off x="1529610" y="5722768"/>
              <a:ext cx="117799" cy="9542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81" name="Grupo 80">
            <a:extLst>
              <a:ext uri="{FF2B5EF4-FFF2-40B4-BE49-F238E27FC236}">
                <a16:creationId xmlns:a16="http://schemas.microsoft.com/office/drawing/2014/main" id="{BA0D64E8-5B0C-3ED6-5D42-8D9682EFA6C8}"/>
              </a:ext>
            </a:extLst>
          </p:cNvPr>
          <p:cNvGrpSpPr/>
          <p:nvPr/>
        </p:nvGrpSpPr>
        <p:grpSpPr>
          <a:xfrm>
            <a:off x="7074197" y="2671045"/>
            <a:ext cx="173758" cy="173757"/>
            <a:chOff x="1506561" y="5670479"/>
            <a:chExt cx="173758" cy="173757"/>
          </a:xfrm>
        </p:grpSpPr>
        <p:sp>
          <p:nvSpPr>
            <p:cNvPr id="82" name="Oval 70">
              <a:extLst>
                <a:ext uri="{FF2B5EF4-FFF2-40B4-BE49-F238E27FC236}">
                  <a16:creationId xmlns:a16="http://schemas.microsoft.com/office/drawing/2014/main" id="{57922E3B-F0C4-744A-6157-B6CF6D2C8541}"/>
                </a:ext>
              </a:extLst>
            </p:cNvPr>
            <p:cNvSpPr/>
            <p:nvPr/>
          </p:nvSpPr>
          <p:spPr>
            <a:xfrm>
              <a:off x="1506561" y="5670479"/>
              <a:ext cx="173758" cy="173757"/>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83" name="Freeform 73">
              <a:extLst>
                <a:ext uri="{FF2B5EF4-FFF2-40B4-BE49-F238E27FC236}">
                  <a16:creationId xmlns:a16="http://schemas.microsoft.com/office/drawing/2014/main" id="{05438018-1D96-4FED-7C14-F471EE52760F}"/>
                </a:ext>
              </a:extLst>
            </p:cNvPr>
            <p:cNvSpPr>
              <a:spLocks/>
            </p:cNvSpPr>
            <p:nvPr/>
          </p:nvSpPr>
          <p:spPr bwMode="gray">
            <a:xfrm>
              <a:off x="1529610" y="5722768"/>
              <a:ext cx="117799" cy="9542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84" name="Grupo 83">
            <a:extLst>
              <a:ext uri="{FF2B5EF4-FFF2-40B4-BE49-F238E27FC236}">
                <a16:creationId xmlns:a16="http://schemas.microsoft.com/office/drawing/2014/main" id="{2E0F26D2-1679-97C8-C404-A35FE3F05125}"/>
              </a:ext>
            </a:extLst>
          </p:cNvPr>
          <p:cNvGrpSpPr/>
          <p:nvPr/>
        </p:nvGrpSpPr>
        <p:grpSpPr>
          <a:xfrm>
            <a:off x="7074197" y="2913377"/>
            <a:ext cx="173758" cy="173757"/>
            <a:chOff x="1506561" y="5670479"/>
            <a:chExt cx="173758" cy="173757"/>
          </a:xfrm>
        </p:grpSpPr>
        <p:sp>
          <p:nvSpPr>
            <p:cNvPr id="85" name="Oval 70">
              <a:extLst>
                <a:ext uri="{FF2B5EF4-FFF2-40B4-BE49-F238E27FC236}">
                  <a16:creationId xmlns:a16="http://schemas.microsoft.com/office/drawing/2014/main" id="{DE82EC77-9F03-3AF4-5420-0DB05BA29EF2}"/>
                </a:ext>
              </a:extLst>
            </p:cNvPr>
            <p:cNvSpPr/>
            <p:nvPr/>
          </p:nvSpPr>
          <p:spPr>
            <a:xfrm>
              <a:off x="1506561" y="5670479"/>
              <a:ext cx="173758" cy="173757"/>
            </a:xfrm>
            <a:prstGeom prst="ellipse">
              <a:avLst/>
            </a:prstGeom>
            <a:solidFill>
              <a:srgbClr val="FFFFFF"/>
            </a:solidFill>
            <a:ln w="9525" cap="flat" cmpd="sng" algn="ctr">
              <a:noFill/>
              <a:prstDash val="solid"/>
            </a:ln>
            <a:effectLst/>
          </p:spPr>
          <p:txBody>
            <a:bodyPr rtlCol="0" anchor="t" anchorCtr="0"/>
            <a:lstStyle/>
            <a:p>
              <a:pPr marL="0" marR="0" lvl="0" indent="0" algn="ctr" defTabSz="734353" eaLnBrk="1" fontAlgn="auto" latinLnBrk="0" hangingPunct="1">
                <a:lnSpc>
                  <a:spcPct val="100000"/>
                </a:lnSpc>
                <a:spcBef>
                  <a:spcPts val="0"/>
                </a:spcBef>
                <a:spcAft>
                  <a:spcPts val="0"/>
                </a:spcAft>
                <a:buClrTx/>
                <a:buSzTx/>
                <a:buFontTx/>
                <a:buNone/>
                <a:tabLst/>
                <a:defRPr/>
              </a:pPr>
              <a:endParaRPr kumimoji="0" lang="es-MX" sz="800" b="0" i="0" u="none" strike="noStrike" kern="0" cap="none" spc="0" normalizeH="0" baseline="0" noProof="0" dirty="0">
                <a:ln>
                  <a:noFill/>
                </a:ln>
                <a:solidFill>
                  <a:prstClr val="white"/>
                </a:solidFill>
                <a:effectLst/>
                <a:uLnTx/>
                <a:uFillTx/>
                <a:latin typeface="EY interstate light"/>
              </a:endParaRPr>
            </a:p>
          </p:txBody>
        </p:sp>
        <p:sp>
          <p:nvSpPr>
            <p:cNvPr id="86" name="Freeform 73">
              <a:extLst>
                <a:ext uri="{FF2B5EF4-FFF2-40B4-BE49-F238E27FC236}">
                  <a16:creationId xmlns:a16="http://schemas.microsoft.com/office/drawing/2014/main" id="{5EEECF76-F6DD-83C7-56EC-8D98AC706E82}"/>
                </a:ext>
              </a:extLst>
            </p:cNvPr>
            <p:cNvSpPr>
              <a:spLocks/>
            </p:cNvSpPr>
            <p:nvPr/>
          </p:nvSpPr>
          <p:spPr bwMode="gray">
            <a:xfrm>
              <a:off x="1529610" y="5722768"/>
              <a:ext cx="117799" cy="95429"/>
            </a:xfrm>
            <a:custGeom>
              <a:avLst/>
              <a:gdLst>
                <a:gd name="T0" fmla="*/ 18 w 47"/>
                <a:gd name="T1" fmla="*/ 23 h 38"/>
                <a:gd name="T2" fmla="*/ 4 w 47"/>
                <a:gd name="T3" fmla="*/ 18 h 38"/>
                <a:gd name="T4" fmla="*/ 19 w 47"/>
                <a:gd name="T5" fmla="*/ 38 h 38"/>
                <a:gd name="T6" fmla="*/ 47 w 47"/>
                <a:gd name="T7" fmla="*/ 0 h 38"/>
                <a:gd name="T8" fmla="*/ 18 w 47"/>
                <a:gd name="T9" fmla="*/ 23 h 38"/>
              </a:gdLst>
              <a:ahLst/>
              <a:cxnLst>
                <a:cxn ang="0">
                  <a:pos x="T0" y="T1"/>
                </a:cxn>
                <a:cxn ang="0">
                  <a:pos x="T2" y="T3"/>
                </a:cxn>
                <a:cxn ang="0">
                  <a:pos x="T4" y="T5"/>
                </a:cxn>
                <a:cxn ang="0">
                  <a:pos x="T6" y="T7"/>
                </a:cxn>
                <a:cxn ang="0">
                  <a:pos x="T8" y="T9"/>
                </a:cxn>
              </a:cxnLst>
              <a:rect l="0" t="0" r="r" b="b"/>
              <a:pathLst>
                <a:path w="47" h="38">
                  <a:moveTo>
                    <a:pt x="18" y="23"/>
                  </a:moveTo>
                  <a:cubicBezTo>
                    <a:pt x="11" y="15"/>
                    <a:pt x="6" y="15"/>
                    <a:pt x="4" y="18"/>
                  </a:cubicBezTo>
                  <a:cubicBezTo>
                    <a:pt x="0" y="24"/>
                    <a:pt x="11" y="22"/>
                    <a:pt x="19" y="38"/>
                  </a:cubicBezTo>
                  <a:cubicBezTo>
                    <a:pt x="26" y="22"/>
                    <a:pt x="34" y="13"/>
                    <a:pt x="47" y="0"/>
                  </a:cubicBezTo>
                  <a:cubicBezTo>
                    <a:pt x="30" y="6"/>
                    <a:pt x="22" y="18"/>
                    <a:pt x="18" y="23"/>
                  </a:cubicBezTo>
                </a:path>
              </a:pathLst>
            </a:custGeom>
            <a:solidFill>
              <a:srgbClr val="000000"/>
            </a:solidFill>
            <a:ln>
              <a:noFill/>
            </a:ln>
          </p:spPr>
          <p:txBody>
            <a:bodyPr vert="horz" wrap="square" lIns="91392" tIns="45696" rIns="91392" bIns="45696" numCol="1" anchor="t" anchorCtr="0" compatLnSpc="1">
              <a:prstTxWarp prst="textNoShape">
                <a:avLst/>
              </a:prstTxWarp>
            </a:bodyPr>
            <a:lstStyle/>
            <a:p>
              <a:pPr marL="0" marR="0" lvl="0" indent="0" defTabSz="734353" eaLnBrk="1" fontAlgn="auto" latinLnBrk="0" hangingPunct="1">
                <a:lnSpc>
                  <a:spcPct val="100000"/>
                </a:lnSpc>
                <a:spcBef>
                  <a:spcPts val="0"/>
                </a:spcBef>
                <a:spcAft>
                  <a:spcPts val="0"/>
                </a:spcAft>
                <a:buClrTx/>
                <a:buSzTx/>
                <a:buFontTx/>
                <a:buNone/>
                <a:tabLst/>
                <a:defRPr/>
              </a:pPr>
              <a:endParaRPr kumimoji="0" lang="es-MX" sz="999" b="0" i="0" u="none" strike="noStrike" kern="0" cap="none" spc="0" normalizeH="0" baseline="0" noProof="0" dirty="0">
                <a:ln>
                  <a:noFill/>
                </a:ln>
                <a:solidFill>
                  <a:prstClr val="white"/>
                </a:solidFill>
                <a:effectLst/>
                <a:uLnTx/>
                <a:uFillTx/>
                <a:latin typeface="EY interstate light"/>
              </a:endParaRPr>
            </a:p>
          </p:txBody>
        </p:sp>
      </p:grpSp>
      <p:grpSp>
        <p:nvGrpSpPr>
          <p:cNvPr id="89" name="Group 4">
            <a:extLst>
              <a:ext uri="{FF2B5EF4-FFF2-40B4-BE49-F238E27FC236}">
                <a16:creationId xmlns:a16="http://schemas.microsoft.com/office/drawing/2014/main" id="{ADA04E64-A804-33E1-1DF0-DA4B84DFA45E}"/>
              </a:ext>
            </a:extLst>
          </p:cNvPr>
          <p:cNvGrpSpPr>
            <a:grpSpLocks noChangeAspect="1"/>
          </p:cNvGrpSpPr>
          <p:nvPr/>
        </p:nvGrpSpPr>
        <p:grpSpPr bwMode="auto">
          <a:xfrm>
            <a:off x="6538752" y="3625074"/>
            <a:ext cx="535445" cy="446099"/>
            <a:chOff x="4443" y="1983"/>
            <a:chExt cx="851" cy="709"/>
          </a:xfrm>
          <a:solidFill>
            <a:srgbClr val="F6F6FA"/>
          </a:solidFill>
        </p:grpSpPr>
        <p:sp>
          <p:nvSpPr>
            <p:cNvPr id="90" name="Freeform 5">
              <a:extLst>
                <a:ext uri="{FF2B5EF4-FFF2-40B4-BE49-F238E27FC236}">
                  <a16:creationId xmlns:a16="http://schemas.microsoft.com/office/drawing/2014/main" id="{A033CBAE-4C45-9679-720B-65D7598CEAD1}"/>
                </a:ext>
              </a:extLst>
            </p:cNvPr>
            <p:cNvSpPr>
              <a:spLocks noEditPoints="1"/>
            </p:cNvSpPr>
            <p:nvPr/>
          </p:nvSpPr>
          <p:spPr bwMode="auto">
            <a:xfrm>
              <a:off x="4443" y="2392"/>
              <a:ext cx="851" cy="300"/>
            </a:xfrm>
            <a:custGeom>
              <a:avLst/>
              <a:gdLst>
                <a:gd name="T0" fmla="*/ 1470 w 2709"/>
                <a:gd name="T1" fmla="*/ 960 h 960"/>
                <a:gd name="T2" fmla="*/ 1462 w 2709"/>
                <a:gd name="T3" fmla="*/ 959 h 960"/>
                <a:gd name="T4" fmla="*/ 634 w 2709"/>
                <a:gd name="T5" fmla="*/ 727 h 960"/>
                <a:gd name="T6" fmla="*/ 29 w 2709"/>
                <a:gd name="T7" fmla="*/ 727 h 960"/>
                <a:gd name="T8" fmla="*/ 0 w 2709"/>
                <a:gd name="T9" fmla="*/ 697 h 960"/>
                <a:gd name="T10" fmla="*/ 0 w 2709"/>
                <a:gd name="T11" fmla="*/ 140 h 960"/>
                <a:gd name="T12" fmla="*/ 29 w 2709"/>
                <a:gd name="T13" fmla="*/ 111 h 960"/>
                <a:gd name="T14" fmla="*/ 384 w 2709"/>
                <a:gd name="T15" fmla="*/ 111 h 960"/>
                <a:gd name="T16" fmla="*/ 764 w 2709"/>
                <a:gd name="T17" fmla="*/ 0 h 960"/>
                <a:gd name="T18" fmla="*/ 1307 w 2709"/>
                <a:gd name="T19" fmla="*/ 253 h 960"/>
                <a:gd name="T20" fmla="*/ 1880 w 2709"/>
                <a:gd name="T21" fmla="*/ 253 h 960"/>
                <a:gd name="T22" fmla="*/ 1964 w 2709"/>
                <a:gd name="T23" fmla="*/ 298 h 960"/>
                <a:gd name="T24" fmla="*/ 1977 w 2709"/>
                <a:gd name="T25" fmla="*/ 428 h 960"/>
                <a:gd name="T26" fmla="*/ 1976 w 2709"/>
                <a:gd name="T27" fmla="*/ 431 h 960"/>
                <a:gd name="T28" fmla="*/ 2508 w 2709"/>
                <a:gd name="T29" fmla="*/ 260 h 960"/>
                <a:gd name="T30" fmla="*/ 2697 w 2709"/>
                <a:gd name="T31" fmla="*/ 353 h 960"/>
                <a:gd name="T32" fmla="*/ 2689 w 2709"/>
                <a:gd name="T33" fmla="*/ 466 h 960"/>
                <a:gd name="T34" fmla="*/ 2604 w 2709"/>
                <a:gd name="T35" fmla="*/ 542 h 960"/>
                <a:gd name="T36" fmla="*/ 2571 w 2709"/>
                <a:gd name="T37" fmla="*/ 554 h 960"/>
                <a:gd name="T38" fmla="*/ 1893 w 2709"/>
                <a:gd name="T39" fmla="*/ 806 h 960"/>
                <a:gd name="T40" fmla="*/ 1480 w 2709"/>
                <a:gd name="T41" fmla="*/ 958 h 960"/>
                <a:gd name="T42" fmla="*/ 1470 w 2709"/>
                <a:gd name="T43" fmla="*/ 960 h 960"/>
                <a:gd name="T44" fmla="*/ 59 w 2709"/>
                <a:gd name="T45" fmla="*/ 668 h 960"/>
                <a:gd name="T46" fmla="*/ 639 w 2709"/>
                <a:gd name="T47" fmla="*/ 668 h 960"/>
                <a:gd name="T48" fmla="*/ 646 w 2709"/>
                <a:gd name="T49" fmla="*/ 669 h 960"/>
                <a:gd name="T50" fmla="*/ 1468 w 2709"/>
                <a:gd name="T51" fmla="*/ 899 h 960"/>
                <a:gd name="T52" fmla="*/ 1872 w 2709"/>
                <a:gd name="T53" fmla="*/ 751 h 960"/>
                <a:gd name="T54" fmla="*/ 2584 w 2709"/>
                <a:gd name="T55" fmla="*/ 486 h 960"/>
                <a:gd name="T56" fmla="*/ 2637 w 2709"/>
                <a:gd name="T57" fmla="*/ 440 h 960"/>
                <a:gd name="T58" fmla="*/ 2641 w 2709"/>
                <a:gd name="T59" fmla="*/ 372 h 960"/>
                <a:gd name="T60" fmla="*/ 2527 w 2709"/>
                <a:gd name="T61" fmla="*/ 316 h 960"/>
                <a:gd name="T62" fmla="*/ 1916 w 2709"/>
                <a:gd name="T63" fmla="*/ 512 h 960"/>
                <a:gd name="T64" fmla="*/ 1733 w 2709"/>
                <a:gd name="T65" fmla="*/ 573 h 960"/>
                <a:gd name="T66" fmla="*/ 1099 w 2709"/>
                <a:gd name="T67" fmla="*/ 573 h 960"/>
                <a:gd name="T68" fmla="*/ 1070 w 2709"/>
                <a:gd name="T69" fmla="*/ 544 h 960"/>
                <a:gd name="T70" fmla="*/ 1099 w 2709"/>
                <a:gd name="T71" fmla="*/ 514 h 960"/>
                <a:gd name="T72" fmla="*/ 1733 w 2709"/>
                <a:gd name="T73" fmla="*/ 514 h 960"/>
                <a:gd name="T74" fmla="*/ 1878 w 2709"/>
                <a:gd name="T75" fmla="*/ 467 h 960"/>
                <a:gd name="T76" fmla="*/ 1884 w 2709"/>
                <a:gd name="T77" fmla="*/ 462 h 960"/>
                <a:gd name="T78" fmla="*/ 1923 w 2709"/>
                <a:gd name="T79" fmla="*/ 406 h 960"/>
                <a:gd name="T80" fmla="*/ 1915 w 2709"/>
                <a:gd name="T81" fmla="*/ 331 h 960"/>
                <a:gd name="T82" fmla="*/ 1880 w 2709"/>
                <a:gd name="T83" fmla="*/ 312 h 960"/>
                <a:gd name="T84" fmla="*/ 1293 w 2709"/>
                <a:gd name="T85" fmla="*/ 312 h 960"/>
                <a:gd name="T86" fmla="*/ 1293 w 2709"/>
                <a:gd name="T87" fmla="*/ 312 h 960"/>
                <a:gd name="T88" fmla="*/ 1270 w 2709"/>
                <a:gd name="T89" fmla="*/ 301 h 960"/>
                <a:gd name="T90" fmla="*/ 764 w 2709"/>
                <a:gd name="T91" fmla="*/ 59 h 960"/>
                <a:gd name="T92" fmla="*/ 409 w 2709"/>
                <a:gd name="T93" fmla="*/ 165 h 960"/>
                <a:gd name="T94" fmla="*/ 393 w 2709"/>
                <a:gd name="T95" fmla="*/ 170 h 960"/>
                <a:gd name="T96" fmla="*/ 59 w 2709"/>
                <a:gd name="T97" fmla="*/ 170 h 960"/>
                <a:gd name="T98" fmla="*/ 59 w 2709"/>
                <a:gd name="T99" fmla="*/ 668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09" h="960">
                  <a:moveTo>
                    <a:pt x="1470" y="960"/>
                  </a:moveTo>
                  <a:cubicBezTo>
                    <a:pt x="1467" y="960"/>
                    <a:pt x="1464" y="959"/>
                    <a:pt x="1462" y="959"/>
                  </a:cubicBezTo>
                  <a:cubicBezTo>
                    <a:pt x="634" y="727"/>
                    <a:pt x="634" y="727"/>
                    <a:pt x="634" y="727"/>
                  </a:cubicBezTo>
                  <a:cubicBezTo>
                    <a:pt x="29" y="727"/>
                    <a:pt x="29" y="727"/>
                    <a:pt x="29" y="727"/>
                  </a:cubicBezTo>
                  <a:cubicBezTo>
                    <a:pt x="13" y="727"/>
                    <a:pt x="0" y="713"/>
                    <a:pt x="0" y="697"/>
                  </a:cubicBezTo>
                  <a:cubicBezTo>
                    <a:pt x="0" y="140"/>
                    <a:pt x="0" y="140"/>
                    <a:pt x="0" y="140"/>
                  </a:cubicBezTo>
                  <a:cubicBezTo>
                    <a:pt x="0" y="124"/>
                    <a:pt x="13" y="111"/>
                    <a:pt x="29" y="111"/>
                  </a:cubicBezTo>
                  <a:cubicBezTo>
                    <a:pt x="384" y="111"/>
                    <a:pt x="384" y="111"/>
                    <a:pt x="384" y="111"/>
                  </a:cubicBezTo>
                  <a:cubicBezTo>
                    <a:pt x="498" y="38"/>
                    <a:pt x="629" y="0"/>
                    <a:pt x="764" y="0"/>
                  </a:cubicBezTo>
                  <a:cubicBezTo>
                    <a:pt x="975" y="0"/>
                    <a:pt x="1172" y="92"/>
                    <a:pt x="1307" y="253"/>
                  </a:cubicBezTo>
                  <a:cubicBezTo>
                    <a:pt x="1880" y="253"/>
                    <a:pt x="1880" y="253"/>
                    <a:pt x="1880" y="253"/>
                  </a:cubicBezTo>
                  <a:cubicBezTo>
                    <a:pt x="1914" y="253"/>
                    <a:pt x="1944" y="269"/>
                    <a:pt x="1964" y="298"/>
                  </a:cubicBezTo>
                  <a:cubicBezTo>
                    <a:pt x="1988" y="334"/>
                    <a:pt x="1993" y="388"/>
                    <a:pt x="1977" y="428"/>
                  </a:cubicBezTo>
                  <a:cubicBezTo>
                    <a:pt x="1977" y="429"/>
                    <a:pt x="1976" y="430"/>
                    <a:pt x="1976" y="431"/>
                  </a:cubicBezTo>
                  <a:cubicBezTo>
                    <a:pt x="2508" y="260"/>
                    <a:pt x="2508" y="260"/>
                    <a:pt x="2508" y="260"/>
                  </a:cubicBezTo>
                  <a:cubicBezTo>
                    <a:pt x="2585" y="234"/>
                    <a:pt x="2670" y="275"/>
                    <a:pt x="2697" y="353"/>
                  </a:cubicBezTo>
                  <a:cubicBezTo>
                    <a:pt x="2709" y="390"/>
                    <a:pt x="2707" y="431"/>
                    <a:pt x="2689" y="466"/>
                  </a:cubicBezTo>
                  <a:cubicBezTo>
                    <a:pt x="2672" y="502"/>
                    <a:pt x="2642" y="529"/>
                    <a:pt x="2604" y="542"/>
                  </a:cubicBezTo>
                  <a:cubicBezTo>
                    <a:pt x="2571" y="554"/>
                    <a:pt x="2571" y="554"/>
                    <a:pt x="2571" y="554"/>
                  </a:cubicBezTo>
                  <a:cubicBezTo>
                    <a:pt x="1893" y="806"/>
                    <a:pt x="1893" y="806"/>
                    <a:pt x="1893" y="806"/>
                  </a:cubicBezTo>
                  <a:cubicBezTo>
                    <a:pt x="1480" y="958"/>
                    <a:pt x="1480" y="958"/>
                    <a:pt x="1480" y="958"/>
                  </a:cubicBezTo>
                  <a:cubicBezTo>
                    <a:pt x="1476" y="959"/>
                    <a:pt x="1473" y="960"/>
                    <a:pt x="1470" y="960"/>
                  </a:cubicBezTo>
                  <a:close/>
                  <a:moveTo>
                    <a:pt x="59" y="668"/>
                  </a:moveTo>
                  <a:cubicBezTo>
                    <a:pt x="639" y="668"/>
                    <a:pt x="639" y="668"/>
                    <a:pt x="639" y="668"/>
                  </a:cubicBezTo>
                  <a:cubicBezTo>
                    <a:pt x="641" y="668"/>
                    <a:pt x="644" y="668"/>
                    <a:pt x="646" y="669"/>
                  </a:cubicBezTo>
                  <a:cubicBezTo>
                    <a:pt x="1468" y="899"/>
                    <a:pt x="1468" y="899"/>
                    <a:pt x="1468" y="899"/>
                  </a:cubicBezTo>
                  <a:cubicBezTo>
                    <a:pt x="1872" y="751"/>
                    <a:pt x="1872" y="751"/>
                    <a:pt x="1872" y="751"/>
                  </a:cubicBezTo>
                  <a:cubicBezTo>
                    <a:pt x="2584" y="486"/>
                    <a:pt x="2584" y="486"/>
                    <a:pt x="2584" y="486"/>
                  </a:cubicBezTo>
                  <a:cubicBezTo>
                    <a:pt x="2608" y="478"/>
                    <a:pt x="2626" y="462"/>
                    <a:pt x="2637" y="440"/>
                  </a:cubicBezTo>
                  <a:cubicBezTo>
                    <a:pt x="2647" y="419"/>
                    <a:pt x="2649" y="394"/>
                    <a:pt x="2641" y="372"/>
                  </a:cubicBezTo>
                  <a:cubicBezTo>
                    <a:pt x="2625" y="325"/>
                    <a:pt x="2574" y="300"/>
                    <a:pt x="2527" y="316"/>
                  </a:cubicBezTo>
                  <a:cubicBezTo>
                    <a:pt x="1916" y="512"/>
                    <a:pt x="1916" y="512"/>
                    <a:pt x="1916" y="512"/>
                  </a:cubicBezTo>
                  <a:cubicBezTo>
                    <a:pt x="1878" y="545"/>
                    <a:pt x="1820" y="573"/>
                    <a:pt x="1733" y="573"/>
                  </a:cubicBezTo>
                  <a:cubicBezTo>
                    <a:pt x="1099" y="573"/>
                    <a:pt x="1099" y="573"/>
                    <a:pt x="1099" y="573"/>
                  </a:cubicBezTo>
                  <a:cubicBezTo>
                    <a:pt x="1083" y="573"/>
                    <a:pt x="1070" y="560"/>
                    <a:pt x="1070" y="544"/>
                  </a:cubicBezTo>
                  <a:cubicBezTo>
                    <a:pt x="1070" y="527"/>
                    <a:pt x="1083" y="514"/>
                    <a:pt x="1099" y="514"/>
                  </a:cubicBezTo>
                  <a:cubicBezTo>
                    <a:pt x="1733" y="514"/>
                    <a:pt x="1733" y="514"/>
                    <a:pt x="1733" y="514"/>
                  </a:cubicBezTo>
                  <a:cubicBezTo>
                    <a:pt x="1803" y="514"/>
                    <a:pt x="1849" y="492"/>
                    <a:pt x="1878" y="467"/>
                  </a:cubicBezTo>
                  <a:cubicBezTo>
                    <a:pt x="1880" y="465"/>
                    <a:pt x="1882" y="463"/>
                    <a:pt x="1884" y="462"/>
                  </a:cubicBezTo>
                  <a:cubicBezTo>
                    <a:pt x="1906" y="441"/>
                    <a:pt x="1917" y="419"/>
                    <a:pt x="1923" y="406"/>
                  </a:cubicBezTo>
                  <a:cubicBezTo>
                    <a:pt x="1932" y="383"/>
                    <a:pt x="1928" y="351"/>
                    <a:pt x="1915" y="331"/>
                  </a:cubicBezTo>
                  <a:cubicBezTo>
                    <a:pt x="1906" y="318"/>
                    <a:pt x="1895" y="312"/>
                    <a:pt x="1880" y="312"/>
                  </a:cubicBezTo>
                  <a:cubicBezTo>
                    <a:pt x="1293" y="312"/>
                    <a:pt x="1293" y="312"/>
                    <a:pt x="1293" y="312"/>
                  </a:cubicBezTo>
                  <a:cubicBezTo>
                    <a:pt x="1293" y="312"/>
                    <a:pt x="1293" y="312"/>
                    <a:pt x="1293" y="312"/>
                  </a:cubicBezTo>
                  <a:cubicBezTo>
                    <a:pt x="1284" y="312"/>
                    <a:pt x="1275" y="308"/>
                    <a:pt x="1270" y="301"/>
                  </a:cubicBezTo>
                  <a:cubicBezTo>
                    <a:pt x="1146" y="147"/>
                    <a:pt x="962" y="59"/>
                    <a:pt x="764" y="59"/>
                  </a:cubicBezTo>
                  <a:cubicBezTo>
                    <a:pt x="638" y="59"/>
                    <a:pt x="515" y="95"/>
                    <a:pt x="409" y="165"/>
                  </a:cubicBezTo>
                  <a:cubicBezTo>
                    <a:pt x="404" y="168"/>
                    <a:pt x="399" y="170"/>
                    <a:pt x="393" y="170"/>
                  </a:cubicBezTo>
                  <a:cubicBezTo>
                    <a:pt x="59" y="170"/>
                    <a:pt x="59" y="170"/>
                    <a:pt x="59" y="170"/>
                  </a:cubicBezTo>
                  <a:lnTo>
                    <a:pt x="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1" name="Freeform 6">
              <a:extLst>
                <a:ext uri="{FF2B5EF4-FFF2-40B4-BE49-F238E27FC236}">
                  <a16:creationId xmlns:a16="http://schemas.microsoft.com/office/drawing/2014/main" id="{4B1C9B00-3FA5-2B50-0419-C65F35F3AF9E}"/>
                </a:ext>
              </a:extLst>
            </p:cNvPr>
            <p:cNvSpPr>
              <a:spLocks/>
            </p:cNvSpPr>
            <p:nvPr/>
          </p:nvSpPr>
          <p:spPr bwMode="auto">
            <a:xfrm>
              <a:off x="4783" y="2335"/>
              <a:ext cx="400" cy="175"/>
            </a:xfrm>
            <a:custGeom>
              <a:avLst/>
              <a:gdLst>
                <a:gd name="T0" fmla="*/ 1256 w 1274"/>
                <a:gd name="T1" fmla="*/ 558 h 558"/>
                <a:gd name="T2" fmla="*/ 1197 w 1274"/>
                <a:gd name="T3" fmla="*/ 552 h 558"/>
                <a:gd name="T4" fmla="*/ 1201 w 1274"/>
                <a:gd name="T5" fmla="*/ 522 h 558"/>
                <a:gd name="T6" fmla="*/ 1126 w 1274"/>
                <a:gd name="T7" fmla="*/ 254 h 558"/>
                <a:gd name="T8" fmla="*/ 634 w 1274"/>
                <a:gd name="T9" fmla="*/ 70 h 558"/>
                <a:gd name="T10" fmla="*/ 66 w 1274"/>
                <a:gd name="T11" fmla="*/ 320 h 558"/>
                <a:gd name="T12" fmla="*/ 52 w 1274"/>
                <a:gd name="T13" fmla="*/ 346 h 558"/>
                <a:gd name="T14" fmla="*/ 0 w 1274"/>
                <a:gd name="T15" fmla="*/ 318 h 558"/>
                <a:gd name="T16" fmla="*/ 14 w 1274"/>
                <a:gd name="T17" fmla="*/ 292 h 558"/>
                <a:gd name="T18" fmla="*/ 635 w 1274"/>
                <a:gd name="T19" fmla="*/ 11 h 558"/>
                <a:gd name="T20" fmla="*/ 1170 w 1274"/>
                <a:gd name="T21" fmla="*/ 215 h 558"/>
                <a:gd name="T22" fmla="*/ 1259 w 1274"/>
                <a:gd name="T23" fmla="*/ 529 h 558"/>
                <a:gd name="T24" fmla="*/ 1256 w 1274"/>
                <a:gd name="T25"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4" h="558">
                  <a:moveTo>
                    <a:pt x="1256" y="558"/>
                  </a:moveTo>
                  <a:cubicBezTo>
                    <a:pt x="1197" y="552"/>
                    <a:pt x="1197" y="552"/>
                    <a:pt x="1197" y="552"/>
                  </a:cubicBezTo>
                  <a:cubicBezTo>
                    <a:pt x="1201" y="522"/>
                    <a:pt x="1201" y="522"/>
                    <a:pt x="1201" y="522"/>
                  </a:cubicBezTo>
                  <a:cubicBezTo>
                    <a:pt x="1213" y="415"/>
                    <a:pt x="1188" y="325"/>
                    <a:pt x="1126" y="254"/>
                  </a:cubicBezTo>
                  <a:cubicBezTo>
                    <a:pt x="971" y="77"/>
                    <a:pt x="637" y="70"/>
                    <a:pt x="634" y="70"/>
                  </a:cubicBezTo>
                  <a:cubicBezTo>
                    <a:pt x="213" y="60"/>
                    <a:pt x="72" y="310"/>
                    <a:pt x="66" y="320"/>
                  </a:cubicBezTo>
                  <a:cubicBezTo>
                    <a:pt x="52" y="346"/>
                    <a:pt x="52" y="346"/>
                    <a:pt x="52" y="346"/>
                  </a:cubicBezTo>
                  <a:cubicBezTo>
                    <a:pt x="0" y="318"/>
                    <a:pt x="0" y="318"/>
                    <a:pt x="0" y="318"/>
                  </a:cubicBezTo>
                  <a:cubicBezTo>
                    <a:pt x="14" y="292"/>
                    <a:pt x="14" y="292"/>
                    <a:pt x="14" y="292"/>
                  </a:cubicBezTo>
                  <a:cubicBezTo>
                    <a:pt x="20" y="280"/>
                    <a:pt x="176" y="0"/>
                    <a:pt x="635" y="11"/>
                  </a:cubicBezTo>
                  <a:cubicBezTo>
                    <a:pt x="649" y="11"/>
                    <a:pt x="998" y="19"/>
                    <a:pt x="1170" y="215"/>
                  </a:cubicBezTo>
                  <a:cubicBezTo>
                    <a:pt x="1244" y="299"/>
                    <a:pt x="1274" y="405"/>
                    <a:pt x="1259" y="529"/>
                  </a:cubicBezTo>
                  <a:lnTo>
                    <a:pt x="1256"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2" name="Freeform 7">
              <a:extLst>
                <a:ext uri="{FF2B5EF4-FFF2-40B4-BE49-F238E27FC236}">
                  <a16:creationId xmlns:a16="http://schemas.microsoft.com/office/drawing/2014/main" id="{55BA6D4E-B5E4-4C8D-9C37-B919E31731C2}"/>
                </a:ext>
              </a:extLst>
            </p:cNvPr>
            <p:cNvSpPr>
              <a:spLocks/>
            </p:cNvSpPr>
            <p:nvPr/>
          </p:nvSpPr>
          <p:spPr bwMode="auto">
            <a:xfrm>
              <a:off x="4866" y="2118"/>
              <a:ext cx="125" cy="236"/>
            </a:xfrm>
            <a:custGeom>
              <a:avLst/>
              <a:gdLst>
                <a:gd name="T0" fmla="*/ 397 w 397"/>
                <a:gd name="T1" fmla="*/ 757 h 757"/>
                <a:gd name="T2" fmla="*/ 339 w 397"/>
                <a:gd name="T3" fmla="*/ 757 h 757"/>
                <a:gd name="T4" fmla="*/ 339 w 397"/>
                <a:gd name="T5" fmla="*/ 413 h 757"/>
                <a:gd name="T6" fmla="*/ 0 w 397"/>
                <a:gd name="T7" fmla="*/ 39 h 757"/>
                <a:gd name="T8" fmla="*/ 44 w 397"/>
                <a:gd name="T9" fmla="*/ 0 h 757"/>
                <a:gd name="T10" fmla="*/ 390 w 397"/>
                <a:gd name="T11" fmla="*/ 382 h 757"/>
                <a:gd name="T12" fmla="*/ 397 w 397"/>
                <a:gd name="T13" fmla="*/ 401 h 757"/>
                <a:gd name="T14" fmla="*/ 397 w 397"/>
                <a:gd name="T15" fmla="*/ 757 h 7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57">
                  <a:moveTo>
                    <a:pt x="397" y="757"/>
                  </a:moveTo>
                  <a:cubicBezTo>
                    <a:pt x="339" y="757"/>
                    <a:pt x="339" y="757"/>
                    <a:pt x="339" y="757"/>
                  </a:cubicBezTo>
                  <a:cubicBezTo>
                    <a:pt x="339" y="413"/>
                    <a:pt x="339" y="413"/>
                    <a:pt x="339" y="413"/>
                  </a:cubicBezTo>
                  <a:cubicBezTo>
                    <a:pt x="0" y="39"/>
                    <a:pt x="0" y="39"/>
                    <a:pt x="0" y="39"/>
                  </a:cubicBezTo>
                  <a:cubicBezTo>
                    <a:pt x="44" y="0"/>
                    <a:pt x="44" y="0"/>
                    <a:pt x="44" y="0"/>
                  </a:cubicBezTo>
                  <a:cubicBezTo>
                    <a:pt x="390" y="382"/>
                    <a:pt x="390" y="382"/>
                    <a:pt x="390" y="382"/>
                  </a:cubicBezTo>
                  <a:cubicBezTo>
                    <a:pt x="395" y="387"/>
                    <a:pt x="397" y="394"/>
                    <a:pt x="397" y="401"/>
                  </a:cubicBezTo>
                  <a:lnTo>
                    <a:pt x="397" y="7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3" name="Freeform 8">
              <a:extLst>
                <a:ext uri="{FF2B5EF4-FFF2-40B4-BE49-F238E27FC236}">
                  <a16:creationId xmlns:a16="http://schemas.microsoft.com/office/drawing/2014/main" id="{2B523FE2-B89E-8208-9EE8-72FC5A6015E4}"/>
                </a:ext>
              </a:extLst>
            </p:cNvPr>
            <p:cNvSpPr>
              <a:spLocks/>
            </p:cNvSpPr>
            <p:nvPr/>
          </p:nvSpPr>
          <p:spPr bwMode="auto">
            <a:xfrm>
              <a:off x="4969" y="2118"/>
              <a:ext cx="128" cy="138"/>
            </a:xfrm>
            <a:custGeom>
              <a:avLst/>
              <a:gdLst>
                <a:gd name="T0" fmla="*/ 14 w 128"/>
                <a:gd name="T1" fmla="*/ 138 h 138"/>
                <a:gd name="T2" fmla="*/ 0 w 128"/>
                <a:gd name="T3" fmla="*/ 125 h 138"/>
                <a:gd name="T4" fmla="*/ 114 w 128"/>
                <a:gd name="T5" fmla="*/ 0 h 138"/>
                <a:gd name="T6" fmla="*/ 128 w 128"/>
                <a:gd name="T7" fmla="*/ 12 h 138"/>
                <a:gd name="T8" fmla="*/ 14 w 128"/>
                <a:gd name="T9" fmla="*/ 138 h 138"/>
              </a:gdLst>
              <a:ahLst/>
              <a:cxnLst>
                <a:cxn ang="0">
                  <a:pos x="T0" y="T1"/>
                </a:cxn>
                <a:cxn ang="0">
                  <a:pos x="T2" y="T3"/>
                </a:cxn>
                <a:cxn ang="0">
                  <a:pos x="T4" y="T5"/>
                </a:cxn>
                <a:cxn ang="0">
                  <a:pos x="T6" y="T7"/>
                </a:cxn>
                <a:cxn ang="0">
                  <a:pos x="T8" y="T9"/>
                </a:cxn>
              </a:cxnLst>
              <a:rect l="0" t="0" r="r" b="b"/>
              <a:pathLst>
                <a:path w="128" h="138">
                  <a:moveTo>
                    <a:pt x="14" y="138"/>
                  </a:moveTo>
                  <a:lnTo>
                    <a:pt x="0" y="125"/>
                  </a:lnTo>
                  <a:lnTo>
                    <a:pt x="114" y="0"/>
                  </a:lnTo>
                  <a:lnTo>
                    <a:pt x="128" y="12"/>
                  </a:lnTo>
                  <a:lnTo>
                    <a:pt x="1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4" name="Freeform 9">
              <a:extLst>
                <a:ext uri="{FF2B5EF4-FFF2-40B4-BE49-F238E27FC236}">
                  <a16:creationId xmlns:a16="http://schemas.microsoft.com/office/drawing/2014/main" id="{60CF0E53-A8F5-EE4C-A6DE-137328EBE7AD}"/>
                </a:ext>
              </a:extLst>
            </p:cNvPr>
            <p:cNvSpPr>
              <a:spLocks noEditPoints="1"/>
            </p:cNvSpPr>
            <p:nvPr/>
          </p:nvSpPr>
          <p:spPr bwMode="auto">
            <a:xfrm>
              <a:off x="4968" y="1983"/>
              <a:ext cx="267" cy="227"/>
            </a:xfrm>
            <a:custGeom>
              <a:avLst/>
              <a:gdLst>
                <a:gd name="T0" fmla="*/ 376 w 850"/>
                <a:gd name="T1" fmla="*/ 727 h 727"/>
                <a:gd name="T2" fmla="*/ 197 w 850"/>
                <a:gd name="T3" fmla="*/ 664 h 727"/>
                <a:gd name="T4" fmla="*/ 195 w 850"/>
                <a:gd name="T5" fmla="*/ 662 h 727"/>
                <a:gd name="T6" fmla="*/ 176 w 850"/>
                <a:gd name="T7" fmla="*/ 265 h 727"/>
                <a:gd name="T8" fmla="*/ 322 w 850"/>
                <a:gd name="T9" fmla="*/ 132 h 727"/>
                <a:gd name="T10" fmla="*/ 413 w 850"/>
                <a:gd name="T11" fmla="*/ 84 h 727"/>
                <a:gd name="T12" fmla="*/ 554 w 850"/>
                <a:gd name="T13" fmla="*/ 46 h 727"/>
                <a:gd name="T14" fmla="*/ 850 w 850"/>
                <a:gd name="T15" fmla="*/ 0 h 727"/>
                <a:gd name="T16" fmla="*/ 798 w 850"/>
                <a:gd name="T17" fmla="*/ 275 h 727"/>
                <a:gd name="T18" fmla="*/ 674 w 850"/>
                <a:gd name="T19" fmla="*/ 548 h 727"/>
                <a:gd name="T20" fmla="*/ 605 w 850"/>
                <a:gd name="T21" fmla="*/ 614 h 727"/>
                <a:gd name="T22" fmla="*/ 481 w 850"/>
                <a:gd name="T23" fmla="*/ 706 h 727"/>
                <a:gd name="T24" fmla="*/ 478 w 850"/>
                <a:gd name="T25" fmla="*/ 708 h 727"/>
                <a:gd name="T26" fmla="*/ 376 w 850"/>
                <a:gd name="T27" fmla="*/ 727 h 727"/>
                <a:gd name="T28" fmla="*/ 237 w 850"/>
                <a:gd name="T29" fmla="*/ 620 h 727"/>
                <a:gd name="T30" fmla="*/ 455 w 850"/>
                <a:gd name="T31" fmla="*/ 654 h 727"/>
                <a:gd name="T32" fmla="*/ 563 w 850"/>
                <a:gd name="T33" fmla="*/ 573 h 727"/>
                <a:gd name="T34" fmla="*/ 633 w 850"/>
                <a:gd name="T35" fmla="*/ 505 h 727"/>
                <a:gd name="T36" fmla="*/ 741 w 850"/>
                <a:gd name="T37" fmla="*/ 263 h 727"/>
                <a:gd name="T38" fmla="*/ 777 w 850"/>
                <a:gd name="T39" fmla="*/ 71 h 727"/>
                <a:gd name="T40" fmla="*/ 563 w 850"/>
                <a:gd name="T41" fmla="*/ 105 h 727"/>
                <a:gd name="T42" fmla="*/ 433 w 850"/>
                <a:gd name="T43" fmla="*/ 139 h 727"/>
                <a:gd name="T44" fmla="*/ 354 w 850"/>
                <a:gd name="T45" fmla="*/ 181 h 727"/>
                <a:gd name="T46" fmla="*/ 217 w 850"/>
                <a:gd name="T47" fmla="*/ 307 h 727"/>
                <a:gd name="T48" fmla="*/ 237 w 850"/>
                <a:gd name="T49" fmla="*/ 62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0" h="727">
                  <a:moveTo>
                    <a:pt x="376" y="727"/>
                  </a:moveTo>
                  <a:cubicBezTo>
                    <a:pt x="272" y="727"/>
                    <a:pt x="201" y="667"/>
                    <a:pt x="197" y="664"/>
                  </a:cubicBezTo>
                  <a:cubicBezTo>
                    <a:pt x="195" y="662"/>
                    <a:pt x="195" y="662"/>
                    <a:pt x="195" y="662"/>
                  </a:cubicBezTo>
                  <a:cubicBezTo>
                    <a:pt x="0" y="456"/>
                    <a:pt x="174" y="267"/>
                    <a:pt x="176" y="265"/>
                  </a:cubicBezTo>
                  <a:cubicBezTo>
                    <a:pt x="322" y="132"/>
                    <a:pt x="322" y="132"/>
                    <a:pt x="322" y="132"/>
                  </a:cubicBezTo>
                  <a:cubicBezTo>
                    <a:pt x="345" y="118"/>
                    <a:pt x="385" y="94"/>
                    <a:pt x="413" y="84"/>
                  </a:cubicBezTo>
                  <a:cubicBezTo>
                    <a:pt x="494" y="54"/>
                    <a:pt x="552" y="47"/>
                    <a:pt x="554" y="46"/>
                  </a:cubicBezTo>
                  <a:cubicBezTo>
                    <a:pt x="850" y="0"/>
                    <a:pt x="850" y="0"/>
                    <a:pt x="850" y="0"/>
                  </a:cubicBezTo>
                  <a:cubicBezTo>
                    <a:pt x="798" y="275"/>
                    <a:pt x="798" y="275"/>
                    <a:pt x="798" y="275"/>
                  </a:cubicBezTo>
                  <a:cubicBezTo>
                    <a:pt x="755" y="467"/>
                    <a:pt x="677" y="544"/>
                    <a:pt x="674" y="548"/>
                  </a:cubicBezTo>
                  <a:cubicBezTo>
                    <a:pt x="605" y="614"/>
                    <a:pt x="605" y="614"/>
                    <a:pt x="605" y="614"/>
                  </a:cubicBezTo>
                  <a:cubicBezTo>
                    <a:pt x="556" y="665"/>
                    <a:pt x="484" y="705"/>
                    <a:pt x="481" y="706"/>
                  </a:cubicBezTo>
                  <a:cubicBezTo>
                    <a:pt x="478" y="708"/>
                    <a:pt x="478" y="708"/>
                    <a:pt x="478" y="708"/>
                  </a:cubicBezTo>
                  <a:cubicBezTo>
                    <a:pt x="441" y="722"/>
                    <a:pt x="407" y="727"/>
                    <a:pt x="376" y="727"/>
                  </a:cubicBezTo>
                  <a:close/>
                  <a:moveTo>
                    <a:pt x="237" y="620"/>
                  </a:moveTo>
                  <a:cubicBezTo>
                    <a:pt x="247" y="629"/>
                    <a:pt x="337" y="697"/>
                    <a:pt x="455" y="654"/>
                  </a:cubicBezTo>
                  <a:cubicBezTo>
                    <a:pt x="465" y="648"/>
                    <a:pt x="524" y="614"/>
                    <a:pt x="563" y="573"/>
                  </a:cubicBezTo>
                  <a:cubicBezTo>
                    <a:pt x="633" y="505"/>
                    <a:pt x="633" y="505"/>
                    <a:pt x="633" y="505"/>
                  </a:cubicBezTo>
                  <a:cubicBezTo>
                    <a:pt x="633" y="505"/>
                    <a:pt x="702" y="435"/>
                    <a:pt x="741" y="263"/>
                  </a:cubicBezTo>
                  <a:cubicBezTo>
                    <a:pt x="777" y="71"/>
                    <a:pt x="777" y="71"/>
                    <a:pt x="777" y="71"/>
                  </a:cubicBezTo>
                  <a:cubicBezTo>
                    <a:pt x="563" y="105"/>
                    <a:pt x="563" y="105"/>
                    <a:pt x="563" y="105"/>
                  </a:cubicBezTo>
                  <a:cubicBezTo>
                    <a:pt x="561" y="105"/>
                    <a:pt x="508" y="112"/>
                    <a:pt x="433" y="139"/>
                  </a:cubicBezTo>
                  <a:cubicBezTo>
                    <a:pt x="411" y="147"/>
                    <a:pt x="375" y="168"/>
                    <a:pt x="354" y="181"/>
                  </a:cubicBezTo>
                  <a:cubicBezTo>
                    <a:pt x="217" y="307"/>
                    <a:pt x="217" y="307"/>
                    <a:pt x="217" y="307"/>
                  </a:cubicBezTo>
                  <a:cubicBezTo>
                    <a:pt x="213" y="312"/>
                    <a:pt x="82" y="456"/>
                    <a:pt x="237" y="6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5" name="Freeform 10">
              <a:extLst>
                <a:ext uri="{FF2B5EF4-FFF2-40B4-BE49-F238E27FC236}">
                  <a16:creationId xmlns:a16="http://schemas.microsoft.com/office/drawing/2014/main" id="{0F8FB836-CE1F-F7CA-5BC8-8CAC37B80491}"/>
                </a:ext>
              </a:extLst>
            </p:cNvPr>
            <p:cNvSpPr>
              <a:spLocks noEditPoints="1"/>
            </p:cNvSpPr>
            <p:nvPr/>
          </p:nvSpPr>
          <p:spPr bwMode="auto">
            <a:xfrm>
              <a:off x="4721" y="1983"/>
              <a:ext cx="267" cy="227"/>
            </a:xfrm>
            <a:custGeom>
              <a:avLst/>
              <a:gdLst>
                <a:gd name="T0" fmla="*/ 473 w 850"/>
                <a:gd name="T1" fmla="*/ 727 h 727"/>
                <a:gd name="T2" fmla="*/ 372 w 850"/>
                <a:gd name="T3" fmla="*/ 708 h 727"/>
                <a:gd name="T4" fmla="*/ 369 w 850"/>
                <a:gd name="T5" fmla="*/ 706 h 727"/>
                <a:gd name="T6" fmla="*/ 244 w 850"/>
                <a:gd name="T7" fmla="*/ 613 h 727"/>
                <a:gd name="T8" fmla="*/ 176 w 850"/>
                <a:gd name="T9" fmla="*/ 548 h 727"/>
                <a:gd name="T10" fmla="*/ 52 w 850"/>
                <a:gd name="T11" fmla="*/ 276 h 727"/>
                <a:gd name="T12" fmla="*/ 0 w 850"/>
                <a:gd name="T13" fmla="*/ 0 h 727"/>
                <a:gd name="T14" fmla="*/ 296 w 850"/>
                <a:gd name="T15" fmla="*/ 46 h 727"/>
                <a:gd name="T16" fmla="*/ 436 w 850"/>
                <a:gd name="T17" fmla="*/ 84 h 727"/>
                <a:gd name="T18" fmla="*/ 528 w 850"/>
                <a:gd name="T19" fmla="*/ 132 h 727"/>
                <a:gd name="T20" fmla="*/ 533 w 850"/>
                <a:gd name="T21" fmla="*/ 135 h 727"/>
                <a:gd name="T22" fmla="*/ 672 w 850"/>
                <a:gd name="T23" fmla="*/ 264 h 727"/>
                <a:gd name="T24" fmla="*/ 654 w 850"/>
                <a:gd name="T25" fmla="*/ 662 h 727"/>
                <a:gd name="T26" fmla="*/ 652 w 850"/>
                <a:gd name="T27" fmla="*/ 664 h 727"/>
                <a:gd name="T28" fmla="*/ 473 w 850"/>
                <a:gd name="T29" fmla="*/ 727 h 727"/>
                <a:gd name="T30" fmla="*/ 395 w 850"/>
                <a:gd name="T31" fmla="*/ 654 h 727"/>
                <a:gd name="T32" fmla="*/ 613 w 850"/>
                <a:gd name="T33" fmla="*/ 620 h 727"/>
                <a:gd name="T34" fmla="*/ 631 w 850"/>
                <a:gd name="T35" fmla="*/ 306 h 727"/>
                <a:gd name="T36" fmla="*/ 495 w 850"/>
                <a:gd name="T37" fmla="*/ 181 h 727"/>
                <a:gd name="T38" fmla="*/ 416 w 850"/>
                <a:gd name="T39" fmla="*/ 139 h 727"/>
                <a:gd name="T40" fmla="*/ 288 w 850"/>
                <a:gd name="T41" fmla="*/ 105 h 727"/>
                <a:gd name="T42" fmla="*/ 73 w 850"/>
                <a:gd name="T43" fmla="*/ 71 h 727"/>
                <a:gd name="T44" fmla="*/ 109 w 850"/>
                <a:gd name="T45" fmla="*/ 264 h 727"/>
                <a:gd name="T46" fmla="*/ 217 w 850"/>
                <a:gd name="T47" fmla="*/ 505 h 727"/>
                <a:gd name="T48" fmla="*/ 286 w 850"/>
                <a:gd name="T49" fmla="*/ 572 h 727"/>
                <a:gd name="T50" fmla="*/ 395 w 850"/>
                <a:gd name="T51" fmla="*/ 65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0" h="727">
                  <a:moveTo>
                    <a:pt x="473" y="727"/>
                  </a:moveTo>
                  <a:cubicBezTo>
                    <a:pt x="442" y="727"/>
                    <a:pt x="408" y="722"/>
                    <a:pt x="372" y="708"/>
                  </a:cubicBezTo>
                  <a:cubicBezTo>
                    <a:pt x="369" y="706"/>
                    <a:pt x="369" y="706"/>
                    <a:pt x="369" y="706"/>
                  </a:cubicBezTo>
                  <a:cubicBezTo>
                    <a:pt x="366" y="705"/>
                    <a:pt x="293" y="665"/>
                    <a:pt x="244" y="613"/>
                  </a:cubicBezTo>
                  <a:cubicBezTo>
                    <a:pt x="176" y="548"/>
                    <a:pt x="176" y="548"/>
                    <a:pt x="176" y="548"/>
                  </a:cubicBezTo>
                  <a:cubicBezTo>
                    <a:pt x="173" y="544"/>
                    <a:pt x="95" y="467"/>
                    <a:pt x="52" y="276"/>
                  </a:cubicBezTo>
                  <a:cubicBezTo>
                    <a:pt x="0" y="0"/>
                    <a:pt x="0" y="0"/>
                    <a:pt x="0" y="0"/>
                  </a:cubicBezTo>
                  <a:cubicBezTo>
                    <a:pt x="296" y="46"/>
                    <a:pt x="296" y="46"/>
                    <a:pt x="296" y="46"/>
                  </a:cubicBezTo>
                  <a:cubicBezTo>
                    <a:pt x="298" y="47"/>
                    <a:pt x="355" y="54"/>
                    <a:pt x="436" y="84"/>
                  </a:cubicBezTo>
                  <a:cubicBezTo>
                    <a:pt x="465" y="94"/>
                    <a:pt x="504" y="118"/>
                    <a:pt x="528" y="132"/>
                  </a:cubicBezTo>
                  <a:cubicBezTo>
                    <a:pt x="533" y="135"/>
                    <a:pt x="533" y="135"/>
                    <a:pt x="533" y="135"/>
                  </a:cubicBezTo>
                  <a:cubicBezTo>
                    <a:pt x="672" y="264"/>
                    <a:pt x="672" y="264"/>
                    <a:pt x="672" y="264"/>
                  </a:cubicBezTo>
                  <a:cubicBezTo>
                    <a:pt x="676" y="267"/>
                    <a:pt x="850" y="456"/>
                    <a:pt x="654" y="662"/>
                  </a:cubicBezTo>
                  <a:cubicBezTo>
                    <a:pt x="652" y="664"/>
                    <a:pt x="652" y="664"/>
                    <a:pt x="652" y="664"/>
                  </a:cubicBezTo>
                  <a:cubicBezTo>
                    <a:pt x="649" y="667"/>
                    <a:pt x="578" y="727"/>
                    <a:pt x="473" y="727"/>
                  </a:cubicBezTo>
                  <a:close/>
                  <a:moveTo>
                    <a:pt x="395" y="654"/>
                  </a:moveTo>
                  <a:cubicBezTo>
                    <a:pt x="513" y="697"/>
                    <a:pt x="603" y="628"/>
                    <a:pt x="613" y="620"/>
                  </a:cubicBezTo>
                  <a:cubicBezTo>
                    <a:pt x="769" y="455"/>
                    <a:pt x="637" y="312"/>
                    <a:pt x="631" y="306"/>
                  </a:cubicBezTo>
                  <a:cubicBezTo>
                    <a:pt x="495" y="181"/>
                    <a:pt x="495" y="181"/>
                    <a:pt x="495" y="181"/>
                  </a:cubicBezTo>
                  <a:cubicBezTo>
                    <a:pt x="474" y="168"/>
                    <a:pt x="439" y="147"/>
                    <a:pt x="416" y="139"/>
                  </a:cubicBezTo>
                  <a:cubicBezTo>
                    <a:pt x="342" y="112"/>
                    <a:pt x="288" y="105"/>
                    <a:pt x="288" y="105"/>
                  </a:cubicBezTo>
                  <a:cubicBezTo>
                    <a:pt x="73" y="71"/>
                    <a:pt x="73" y="71"/>
                    <a:pt x="73" y="71"/>
                  </a:cubicBezTo>
                  <a:cubicBezTo>
                    <a:pt x="109" y="264"/>
                    <a:pt x="109" y="264"/>
                    <a:pt x="109" y="264"/>
                  </a:cubicBezTo>
                  <a:cubicBezTo>
                    <a:pt x="148" y="435"/>
                    <a:pt x="216" y="505"/>
                    <a:pt x="217" y="505"/>
                  </a:cubicBezTo>
                  <a:cubicBezTo>
                    <a:pt x="286" y="572"/>
                    <a:pt x="286" y="572"/>
                    <a:pt x="286" y="572"/>
                  </a:cubicBezTo>
                  <a:cubicBezTo>
                    <a:pt x="326" y="614"/>
                    <a:pt x="384" y="648"/>
                    <a:pt x="395"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nvGrpSpPr>
          <p:cNvPr id="96" name="Group 111">
            <a:extLst>
              <a:ext uri="{FF2B5EF4-FFF2-40B4-BE49-F238E27FC236}">
                <a16:creationId xmlns:a16="http://schemas.microsoft.com/office/drawing/2014/main" id="{96085E62-E31D-9B83-C67A-4B85634F8610}"/>
              </a:ext>
            </a:extLst>
          </p:cNvPr>
          <p:cNvGrpSpPr>
            <a:grpSpLocks noChangeAspect="1"/>
          </p:cNvGrpSpPr>
          <p:nvPr/>
        </p:nvGrpSpPr>
        <p:grpSpPr bwMode="auto">
          <a:xfrm>
            <a:off x="4321853" y="3753429"/>
            <a:ext cx="503020" cy="531690"/>
            <a:chOff x="654" y="2909"/>
            <a:chExt cx="772" cy="816"/>
          </a:xfrm>
          <a:solidFill>
            <a:srgbClr val="F6F6FA"/>
          </a:solidFill>
        </p:grpSpPr>
        <p:sp>
          <p:nvSpPr>
            <p:cNvPr id="97" name="Freeform 112">
              <a:extLst>
                <a:ext uri="{FF2B5EF4-FFF2-40B4-BE49-F238E27FC236}">
                  <a16:creationId xmlns:a16="http://schemas.microsoft.com/office/drawing/2014/main" id="{DB4DE31C-9228-D2CF-75EE-EC448D5B4A70}"/>
                </a:ext>
              </a:extLst>
            </p:cNvPr>
            <p:cNvSpPr>
              <a:spLocks/>
            </p:cNvSpPr>
            <p:nvPr/>
          </p:nvSpPr>
          <p:spPr bwMode="auto">
            <a:xfrm>
              <a:off x="1046" y="3251"/>
              <a:ext cx="76" cy="134"/>
            </a:xfrm>
            <a:custGeom>
              <a:avLst/>
              <a:gdLst>
                <a:gd name="T0" fmla="*/ 24 w 76"/>
                <a:gd name="T1" fmla="*/ 134 h 134"/>
                <a:gd name="T2" fmla="*/ 14 w 76"/>
                <a:gd name="T3" fmla="*/ 132 h 134"/>
                <a:gd name="T4" fmla="*/ 2 w 76"/>
                <a:gd name="T5" fmla="*/ 120 h 134"/>
                <a:gd name="T6" fmla="*/ 0 w 76"/>
                <a:gd name="T7" fmla="*/ 96 h 134"/>
                <a:gd name="T8" fmla="*/ 18 w 76"/>
                <a:gd name="T9" fmla="*/ 110 h 134"/>
                <a:gd name="T10" fmla="*/ 20 w 76"/>
                <a:gd name="T11" fmla="*/ 114 h 134"/>
                <a:gd name="T12" fmla="*/ 54 w 76"/>
                <a:gd name="T13" fmla="*/ 116 h 134"/>
                <a:gd name="T14" fmla="*/ 58 w 76"/>
                <a:gd name="T15" fmla="*/ 114 h 134"/>
                <a:gd name="T16" fmla="*/ 58 w 76"/>
                <a:gd name="T17" fmla="*/ 80 h 134"/>
                <a:gd name="T18" fmla="*/ 58 w 76"/>
                <a:gd name="T19" fmla="*/ 78 h 134"/>
                <a:gd name="T20" fmla="*/ 24 w 76"/>
                <a:gd name="T21" fmla="*/ 76 h 134"/>
                <a:gd name="T22" fmla="*/ 14 w 76"/>
                <a:gd name="T23" fmla="*/ 74 h 134"/>
                <a:gd name="T24" fmla="*/ 2 w 76"/>
                <a:gd name="T25" fmla="*/ 62 h 134"/>
                <a:gd name="T26" fmla="*/ 0 w 76"/>
                <a:gd name="T27" fmla="*/ 22 h 134"/>
                <a:gd name="T28" fmla="*/ 2 w 76"/>
                <a:gd name="T29" fmla="*/ 14 h 134"/>
                <a:gd name="T30" fmla="*/ 14 w 76"/>
                <a:gd name="T31" fmla="*/ 2 h 134"/>
                <a:gd name="T32" fmla="*/ 54 w 76"/>
                <a:gd name="T33" fmla="*/ 0 h 134"/>
                <a:gd name="T34" fmla="*/ 62 w 76"/>
                <a:gd name="T35" fmla="*/ 2 h 134"/>
                <a:gd name="T36" fmla="*/ 76 w 76"/>
                <a:gd name="T37" fmla="*/ 14 h 134"/>
                <a:gd name="T38" fmla="*/ 76 w 76"/>
                <a:gd name="T39" fmla="*/ 38 h 134"/>
                <a:gd name="T40" fmla="*/ 58 w 76"/>
                <a:gd name="T41" fmla="*/ 22 h 134"/>
                <a:gd name="T42" fmla="*/ 58 w 76"/>
                <a:gd name="T43" fmla="*/ 18 h 134"/>
                <a:gd name="T44" fmla="*/ 24 w 76"/>
                <a:gd name="T45" fmla="*/ 18 h 134"/>
                <a:gd name="T46" fmla="*/ 20 w 76"/>
                <a:gd name="T47" fmla="*/ 18 h 134"/>
                <a:gd name="T48" fmla="*/ 18 w 76"/>
                <a:gd name="T49" fmla="*/ 52 h 134"/>
                <a:gd name="T50" fmla="*/ 20 w 76"/>
                <a:gd name="T51" fmla="*/ 56 h 134"/>
                <a:gd name="T52" fmla="*/ 54 w 76"/>
                <a:gd name="T53" fmla="*/ 58 h 134"/>
                <a:gd name="T54" fmla="*/ 62 w 76"/>
                <a:gd name="T55" fmla="*/ 60 h 134"/>
                <a:gd name="T56" fmla="*/ 76 w 76"/>
                <a:gd name="T57" fmla="*/ 72 h 134"/>
                <a:gd name="T58" fmla="*/ 76 w 76"/>
                <a:gd name="T59" fmla="*/ 110 h 134"/>
                <a:gd name="T60" fmla="*/ 76 w 76"/>
                <a:gd name="T61" fmla="*/ 120 h 134"/>
                <a:gd name="T62" fmla="*/ 62 w 76"/>
                <a:gd name="T63" fmla="*/ 132 h 134"/>
                <a:gd name="T64" fmla="*/ 54 w 76"/>
                <a:gd name="T6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4">
                  <a:moveTo>
                    <a:pt x="54" y="134"/>
                  </a:moveTo>
                  <a:lnTo>
                    <a:pt x="24" y="134"/>
                  </a:lnTo>
                  <a:lnTo>
                    <a:pt x="24" y="134"/>
                  </a:lnTo>
                  <a:lnTo>
                    <a:pt x="14" y="132"/>
                  </a:lnTo>
                  <a:lnTo>
                    <a:pt x="8" y="126"/>
                  </a:lnTo>
                  <a:lnTo>
                    <a:pt x="2" y="120"/>
                  </a:lnTo>
                  <a:lnTo>
                    <a:pt x="0" y="110"/>
                  </a:lnTo>
                  <a:lnTo>
                    <a:pt x="0" y="96"/>
                  </a:lnTo>
                  <a:lnTo>
                    <a:pt x="18" y="96"/>
                  </a:lnTo>
                  <a:lnTo>
                    <a:pt x="18" y="110"/>
                  </a:lnTo>
                  <a:lnTo>
                    <a:pt x="18" y="110"/>
                  </a:lnTo>
                  <a:lnTo>
                    <a:pt x="20" y="114"/>
                  </a:lnTo>
                  <a:lnTo>
                    <a:pt x="24" y="116"/>
                  </a:lnTo>
                  <a:lnTo>
                    <a:pt x="54" y="116"/>
                  </a:lnTo>
                  <a:lnTo>
                    <a:pt x="54" y="116"/>
                  </a:lnTo>
                  <a:lnTo>
                    <a:pt x="58" y="114"/>
                  </a:lnTo>
                  <a:lnTo>
                    <a:pt x="58" y="110"/>
                  </a:lnTo>
                  <a:lnTo>
                    <a:pt x="58" y="80"/>
                  </a:lnTo>
                  <a:lnTo>
                    <a:pt x="58" y="80"/>
                  </a:lnTo>
                  <a:lnTo>
                    <a:pt x="58" y="78"/>
                  </a:lnTo>
                  <a:lnTo>
                    <a:pt x="54" y="76"/>
                  </a:lnTo>
                  <a:lnTo>
                    <a:pt x="24" y="76"/>
                  </a:lnTo>
                  <a:lnTo>
                    <a:pt x="24" y="76"/>
                  </a:lnTo>
                  <a:lnTo>
                    <a:pt x="14" y="74"/>
                  </a:lnTo>
                  <a:lnTo>
                    <a:pt x="8" y="68"/>
                  </a:lnTo>
                  <a:lnTo>
                    <a:pt x="2" y="62"/>
                  </a:lnTo>
                  <a:lnTo>
                    <a:pt x="0" y="52"/>
                  </a:lnTo>
                  <a:lnTo>
                    <a:pt x="0" y="22"/>
                  </a:lnTo>
                  <a:lnTo>
                    <a:pt x="0" y="22"/>
                  </a:lnTo>
                  <a:lnTo>
                    <a:pt x="2" y="14"/>
                  </a:lnTo>
                  <a:lnTo>
                    <a:pt x="8" y="6"/>
                  </a:lnTo>
                  <a:lnTo>
                    <a:pt x="14" y="2"/>
                  </a:lnTo>
                  <a:lnTo>
                    <a:pt x="24" y="0"/>
                  </a:lnTo>
                  <a:lnTo>
                    <a:pt x="54" y="0"/>
                  </a:lnTo>
                  <a:lnTo>
                    <a:pt x="54" y="0"/>
                  </a:lnTo>
                  <a:lnTo>
                    <a:pt x="62" y="2"/>
                  </a:lnTo>
                  <a:lnTo>
                    <a:pt x="70" y="6"/>
                  </a:lnTo>
                  <a:lnTo>
                    <a:pt x="76" y="14"/>
                  </a:lnTo>
                  <a:lnTo>
                    <a:pt x="76" y="22"/>
                  </a:lnTo>
                  <a:lnTo>
                    <a:pt x="76" y="38"/>
                  </a:lnTo>
                  <a:lnTo>
                    <a:pt x="58" y="38"/>
                  </a:lnTo>
                  <a:lnTo>
                    <a:pt x="58" y="22"/>
                  </a:lnTo>
                  <a:lnTo>
                    <a:pt x="58" y="22"/>
                  </a:lnTo>
                  <a:lnTo>
                    <a:pt x="58" y="18"/>
                  </a:lnTo>
                  <a:lnTo>
                    <a:pt x="54" y="18"/>
                  </a:lnTo>
                  <a:lnTo>
                    <a:pt x="24" y="18"/>
                  </a:lnTo>
                  <a:lnTo>
                    <a:pt x="24" y="18"/>
                  </a:lnTo>
                  <a:lnTo>
                    <a:pt x="20" y="18"/>
                  </a:lnTo>
                  <a:lnTo>
                    <a:pt x="18" y="22"/>
                  </a:lnTo>
                  <a:lnTo>
                    <a:pt x="18" y="52"/>
                  </a:lnTo>
                  <a:lnTo>
                    <a:pt x="18" y="52"/>
                  </a:lnTo>
                  <a:lnTo>
                    <a:pt x="20" y="56"/>
                  </a:lnTo>
                  <a:lnTo>
                    <a:pt x="24" y="58"/>
                  </a:lnTo>
                  <a:lnTo>
                    <a:pt x="54" y="58"/>
                  </a:lnTo>
                  <a:lnTo>
                    <a:pt x="54" y="58"/>
                  </a:lnTo>
                  <a:lnTo>
                    <a:pt x="62" y="60"/>
                  </a:lnTo>
                  <a:lnTo>
                    <a:pt x="70" y="64"/>
                  </a:lnTo>
                  <a:lnTo>
                    <a:pt x="76" y="72"/>
                  </a:lnTo>
                  <a:lnTo>
                    <a:pt x="76" y="80"/>
                  </a:lnTo>
                  <a:lnTo>
                    <a:pt x="76" y="110"/>
                  </a:lnTo>
                  <a:lnTo>
                    <a:pt x="76" y="110"/>
                  </a:lnTo>
                  <a:lnTo>
                    <a:pt x="76" y="120"/>
                  </a:lnTo>
                  <a:lnTo>
                    <a:pt x="70" y="126"/>
                  </a:lnTo>
                  <a:lnTo>
                    <a:pt x="62" y="132"/>
                  </a:lnTo>
                  <a:lnTo>
                    <a:pt x="54" y="134"/>
                  </a:lnTo>
                  <a:lnTo>
                    <a:pt x="54"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8" name="Rectangle 113">
              <a:extLst>
                <a:ext uri="{FF2B5EF4-FFF2-40B4-BE49-F238E27FC236}">
                  <a16:creationId xmlns:a16="http://schemas.microsoft.com/office/drawing/2014/main" id="{CDFAF3AB-6C64-DF35-A995-1318E70A00CB}"/>
                </a:ext>
              </a:extLst>
            </p:cNvPr>
            <p:cNvSpPr>
              <a:spLocks noChangeArrowheads="1"/>
            </p:cNvSpPr>
            <p:nvPr/>
          </p:nvSpPr>
          <p:spPr bwMode="auto">
            <a:xfrm>
              <a:off x="1076" y="3243"/>
              <a:ext cx="18"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99" name="Rectangle 114">
              <a:extLst>
                <a:ext uri="{FF2B5EF4-FFF2-40B4-BE49-F238E27FC236}">
                  <a16:creationId xmlns:a16="http://schemas.microsoft.com/office/drawing/2014/main" id="{F6A9F3B2-9641-37FA-E5A4-B22571FE0827}"/>
                </a:ext>
              </a:extLst>
            </p:cNvPr>
            <p:cNvSpPr>
              <a:spLocks noChangeArrowheads="1"/>
            </p:cNvSpPr>
            <p:nvPr/>
          </p:nvSpPr>
          <p:spPr bwMode="auto">
            <a:xfrm>
              <a:off x="1076" y="3375"/>
              <a:ext cx="18"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0" name="Freeform 115">
              <a:extLst>
                <a:ext uri="{FF2B5EF4-FFF2-40B4-BE49-F238E27FC236}">
                  <a16:creationId xmlns:a16="http://schemas.microsoft.com/office/drawing/2014/main" id="{0F47B1D8-CA8E-0507-46D1-32F7C093CE15}"/>
                </a:ext>
              </a:extLst>
            </p:cNvPr>
            <p:cNvSpPr>
              <a:spLocks noEditPoints="1"/>
            </p:cNvSpPr>
            <p:nvPr/>
          </p:nvSpPr>
          <p:spPr bwMode="auto">
            <a:xfrm>
              <a:off x="744" y="3145"/>
              <a:ext cx="682" cy="346"/>
            </a:xfrm>
            <a:custGeom>
              <a:avLst/>
              <a:gdLst>
                <a:gd name="T0" fmla="*/ 682 w 682"/>
                <a:gd name="T1" fmla="*/ 346 h 346"/>
                <a:gd name="T2" fmla="*/ 0 w 682"/>
                <a:gd name="T3" fmla="*/ 346 h 346"/>
                <a:gd name="T4" fmla="*/ 0 w 682"/>
                <a:gd name="T5" fmla="*/ 0 h 346"/>
                <a:gd name="T6" fmla="*/ 682 w 682"/>
                <a:gd name="T7" fmla="*/ 0 h 346"/>
                <a:gd name="T8" fmla="*/ 682 w 682"/>
                <a:gd name="T9" fmla="*/ 346 h 346"/>
                <a:gd name="T10" fmla="*/ 18 w 682"/>
                <a:gd name="T11" fmla="*/ 328 h 346"/>
                <a:gd name="T12" fmla="*/ 664 w 682"/>
                <a:gd name="T13" fmla="*/ 328 h 346"/>
                <a:gd name="T14" fmla="*/ 664 w 682"/>
                <a:gd name="T15" fmla="*/ 18 h 346"/>
                <a:gd name="T16" fmla="*/ 18 w 682"/>
                <a:gd name="T17" fmla="*/ 18 h 346"/>
                <a:gd name="T18" fmla="*/ 18 w 682"/>
                <a:gd name="T19" fmla="*/ 3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2" h="346">
                  <a:moveTo>
                    <a:pt x="682" y="346"/>
                  </a:moveTo>
                  <a:lnTo>
                    <a:pt x="0" y="346"/>
                  </a:lnTo>
                  <a:lnTo>
                    <a:pt x="0" y="0"/>
                  </a:lnTo>
                  <a:lnTo>
                    <a:pt x="682" y="0"/>
                  </a:lnTo>
                  <a:lnTo>
                    <a:pt x="682" y="346"/>
                  </a:lnTo>
                  <a:close/>
                  <a:moveTo>
                    <a:pt x="18" y="328"/>
                  </a:moveTo>
                  <a:lnTo>
                    <a:pt x="664" y="328"/>
                  </a:lnTo>
                  <a:lnTo>
                    <a:pt x="664" y="18"/>
                  </a:lnTo>
                  <a:lnTo>
                    <a:pt x="18" y="18"/>
                  </a:lnTo>
                  <a:lnTo>
                    <a:pt x="18"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1" name="Freeform 116">
              <a:extLst>
                <a:ext uri="{FF2B5EF4-FFF2-40B4-BE49-F238E27FC236}">
                  <a16:creationId xmlns:a16="http://schemas.microsoft.com/office/drawing/2014/main" id="{BC899C2B-F98C-D6A1-D4A3-73C03846C94E}"/>
                </a:ext>
              </a:extLst>
            </p:cNvPr>
            <p:cNvSpPr>
              <a:spLocks noEditPoints="1"/>
            </p:cNvSpPr>
            <p:nvPr/>
          </p:nvSpPr>
          <p:spPr bwMode="auto">
            <a:xfrm>
              <a:off x="956" y="3189"/>
              <a:ext cx="258" cy="258"/>
            </a:xfrm>
            <a:custGeom>
              <a:avLst/>
              <a:gdLst>
                <a:gd name="T0" fmla="*/ 128 w 258"/>
                <a:gd name="T1" fmla="*/ 258 h 258"/>
                <a:gd name="T2" fmla="*/ 102 w 258"/>
                <a:gd name="T3" fmla="*/ 256 h 258"/>
                <a:gd name="T4" fmla="*/ 78 w 258"/>
                <a:gd name="T5" fmla="*/ 248 h 258"/>
                <a:gd name="T6" fmla="*/ 56 w 258"/>
                <a:gd name="T7" fmla="*/ 236 h 258"/>
                <a:gd name="T8" fmla="*/ 22 w 258"/>
                <a:gd name="T9" fmla="*/ 200 h 258"/>
                <a:gd name="T10" fmla="*/ 10 w 258"/>
                <a:gd name="T11" fmla="*/ 178 h 258"/>
                <a:gd name="T12" fmla="*/ 2 w 258"/>
                <a:gd name="T13" fmla="*/ 154 h 258"/>
                <a:gd name="T14" fmla="*/ 0 w 258"/>
                <a:gd name="T15" fmla="*/ 128 h 258"/>
                <a:gd name="T16" fmla="*/ 0 w 258"/>
                <a:gd name="T17" fmla="*/ 116 h 258"/>
                <a:gd name="T18" fmla="*/ 6 w 258"/>
                <a:gd name="T19" fmla="*/ 90 h 258"/>
                <a:gd name="T20" fmla="*/ 16 w 258"/>
                <a:gd name="T21" fmla="*/ 66 h 258"/>
                <a:gd name="T22" fmla="*/ 38 w 258"/>
                <a:gd name="T23" fmla="*/ 38 h 258"/>
                <a:gd name="T24" fmla="*/ 68 w 258"/>
                <a:gd name="T25" fmla="*/ 14 h 258"/>
                <a:gd name="T26" fmla="*/ 90 w 258"/>
                <a:gd name="T27" fmla="*/ 6 h 258"/>
                <a:gd name="T28" fmla="*/ 116 w 258"/>
                <a:gd name="T29" fmla="*/ 0 h 258"/>
                <a:gd name="T30" fmla="*/ 128 w 258"/>
                <a:gd name="T31" fmla="*/ 0 h 258"/>
                <a:gd name="T32" fmla="*/ 154 w 258"/>
                <a:gd name="T33" fmla="*/ 2 h 258"/>
                <a:gd name="T34" fmla="*/ 180 w 258"/>
                <a:gd name="T35" fmla="*/ 10 h 258"/>
                <a:gd name="T36" fmla="*/ 202 w 258"/>
                <a:gd name="T37" fmla="*/ 22 h 258"/>
                <a:gd name="T38" fmla="*/ 236 w 258"/>
                <a:gd name="T39" fmla="*/ 56 h 258"/>
                <a:gd name="T40" fmla="*/ 248 w 258"/>
                <a:gd name="T41" fmla="*/ 78 h 258"/>
                <a:gd name="T42" fmla="*/ 256 w 258"/>
                <a:gd name="T43" fmla="*/ 102 h 258"/>
                <a:gd name="T44" fmla="*/ 258 w 258"/>
                <a:gd name="T45" fmla="*/ 128 h 258"/>
                <a:gd name="T46" fmla="*/ 258 w 258"/>
                <a:gd name="T47" fmla="*/ 142 h 258"/>
                <a:gd name="T48" fmla="*/ 252 w 258"/>
                <a:gd name="T49" fmla="*/ 166 h 258"/>
                <a:gd name="T50" fmla="*/ 242 w 258"/>
                <a:gd name="T51" fmla="*/ 190 h 258"/>
                <a:gd name="T52" fmla="*/ 220 w 258"/>
                <a:gd name="T53" fmla="*/ 220 h 258"/>
                <a:gd name="T54" fmla="*/ 190 w 258"/>
                <a:gd name="T55" fmla="*/ 242 h 258"/>
                <a:gd name="T56" fmla="*/ 168 w 258"/>
                <a:gd name="T57" fmla="*/ 252 h 258"/>
                <a:gd name="T58" fmla="*/ 142 w 258"/>
                <a:gd name="T59" fmla="*/ 258 h 258"/>
                <a:gd name="T60" fmla="*/ 128 w 258"/>
                <a:gd name="T61" fmla="*/ 258 h 258"/>
                <a:gd name="T62" fmla="*/ 128 w 258"/>
                <a:gd name="T63" fmla="*/ 18 h 258"/>
                <a:gd name="T64" fmla="*/ 86 w 258"/>
                <a:gd name="T65" fmla="*/ 26 h 258"/>
                <a:gd name="T66" fmla="*/ 50 w 258"/>
                <a:gd name="T67" fmla="*/ 50 h 258"/>
                <a:gd name="T68" fmla="*/ 26 w 258"/>
                <a:gd name="T69" fmla="*/ 86 h 258"/>
                <a:gd name="T70" fmla="*/ 18 w 258"/>
                <a:gd name="T71" fmla="*/ 128 h 258"/>
                <a:gd name="T72" fmla="*/ 20 w 258"/>
                <a:gd name="T73" fmla="*/ 150 h 258"/>
                <a:gd name="T74" fmla="*/ 36 w 258"/>
                <a:gd name="T75" fmla="*/ 190 h 258"/>
                <a:gd name="T76" fmla="*/ 66 w 258"/>
                <a:gd name="T77" fmla="*/ 220 h 258"/>
                <a:gd name="T78" fmla="*/ 106 w 258"/>
                <a:gd name="T79" fmla="*/ 238 h 258"/>
                <a:gd name="T80" fmla="*/ 128 w 258"/>
                <a:gd name="T81" fmla="*/ 240 h 258"/>
                <a:gd name="T82" fmla="*/ 172 w 258"/>
                <a:gd name="T83" fmla="*/ 230 h 258"/>
                <a:gd name="T84" fmla="*/ 208 w 258"/>
                <a:gd name="T85" fmla="*/ 208 h 258"/>
                <a:gd name="T86" fmla="*/ 232 w 258"/>
                <a:gd name="T87" fmla="*/ 172 h 258"/>
                <a:gd name="T88" fmla="*/ 240 w 258"/>
                <a:gd name="T89" fmla="*/ 128 h 258"/>
                <a:gd name="T90" fmla="*/ 238 w 258"/>
                <a:gd name="T91" fmla="*/ 106 h 258"/>
                <a:gd name="T92" fmla="*/ 222 w 258"/>
                <a:gd name="T93" fmla="*/ 66 h 258"/>
                <a:gd name="T94" fmla="*/ 190 w 258"/>
                <a:gd name="T95" fmla="*/ 36 h 258"/>
                <a:gd name="T96" fmla="*/ 152 w 258"/>
                <a:gd name="T97" fmla="*/ 20 h 258"/>
                <a:gd name="T98" fmla="*/ 128 w 258"/>
                <a:gd name="T99"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8" h="258">
                  <a:moveTo>
                    <a:pt x="128" y="258"/>
                  </a:moveTo>
                  <a:lnTo>
                    <a:pt x="128" y="258"/>
                  </a:lnTo>
                  <a:lnTo>
                    <a:pt x="116" y="258"/>
                  </a:lnTo>
                  <a:lnTo>
                    <a:pt x="102" y="256"/>
                  </a:lnTo>
                  <a:lnTo>
                    <a:pt x="90" y="252"/>
                  </a:lnTo>
                  <a:lnTo>
                    <a:pt x="78" y="248"/>
                  </a:lnTo>
                  <a:lnTo>
                    <a:pt x="68" y="242"/>
                  </a:lnTo>
                  <a:lnTo>
                    <a:pt x="56" y="236"/>
                  </a:lnTo>
                  <a:lnTo>
                    <a:pt x="38" y="220"/>
                  </a:lnTo>
                  <a:lnTo>
                    <a:pt x="22" y="200"/>
                  </a:lnTo>
                  <a:lnTo>
                    <a:pt x="16" y="190"/>
                  </a:lnTo>
                  <a:lnTo>
                    <a:pt x="10" y="178"/>
                  </a:lnTo>
                  <a:lnTo>
                    <a:pt x="6" y="166"/>
                  </a:lnTo>
                  <a:lnTo>
                    <a:pt x="2" y="154"/>
                  </a:lnTo>
                  <a:lnTo>
                    <a:pt x="0" y="142"/>
                  </a:lnTo>
                  <a:lnTo>
                    <a:pt x="0" y="128"/>
                  </a:lnTo>
                  <a:lnTo>
                    <a:pt x="0" y="128"/>
                  </a:lnTo>
                  <a:lnTo>
                    <a:pt x="0" y="116"/>
                  </a:lnTo>
                  <a:lnTo>
                    <a:pt x="2" y="102"/>
                  </a:lnTo>
                  <a:lnTo>
                    <a:pt x="6" y="90"/>
                  </a:lnTo>
                  <a:lnTo>
                    <a:pt x="10" y="78"/>
                  </a:lnTo>
                  <a:lnTo>
                    <a:pt x="16" y="66"/>
                  </a:lnTo>
                  <a:lnTo>
                    <a:pt x="22" y="56"/>
                  </a:lnTo>
                  <a:lnTo>
                    <a:pt x="38" y="38"/>
                  </a:lnTo>
                  <a:lnTo>
                    <a:pt x="56" y="22"/>
                  </a:lnTo>
                  <a:lnTo>
                    <a:pt x="68" y="14"/>
                  </a:lnTo>
                  <a:lnTo>
                    <a:pt x="78" y="10"/>
                  </a:lnTo>
                  <a:lnTo>
                    <a:pt x="90" y="6"/>
                  </a:lnTo>
                  <a:lnTo>
                    <a:pt x="102" y="2"/>
                  </a:lnTo>
                  <a:lnTo>
                    <a:pt x="116" y="0"/>
                  </a:lnTo>
                  <a:lnTo>
                    <a:pt x="128" y="0"/>
                  </a:lnTo>
                  <a:lnTo>
                    <a:pt x="128" y="0"/>
                  </a:lnTo>
                  <a:lnTo>
                    <a:pt x="142" y="0"/>
                  </a:lnTo>
                  <a:lnTo>
                    <a:pt x="154" y="2"/>
                  </a:lnTo>
                  <a:lnTo>
                    <a:pt x="168" y="6"/>
                  </a:lnTo>
                  <a:lnTo>
                    <a:pt x="180" y="10"/>
                  </a:lnTo>
                  <a:lnTo>
                    <a:pt x="190" y="14"/>
                  </a:lnTo>
                  <a:lnTo>
                    <a:pt x="202" y="22"/>
                  </a:lnTo>
                  <a:lnTo>
                    <a:pt x="220" y="38"/>
                  </a:lnTo>
                  <a:lnTo>
                    <a:pt x="236" y="56"/>
                  </a:lnTo>
                  <a:lnTo>
                    <a:pt x="242" y="66"/>
                  </a:lnTo>
                  <a:lnTo>
                    <a:pt x="248" y="78"/>
                  </a:lnTo>
                  <a:lnTo>
                    <a:pt x="252" y="90"/>
                  </a:lnTo>
                  <a:lnTo>
                    <a:pt x="256" y="102"/>
                  </a:lnTo>
                  <a:lnTo>
                    <a:pt x="258" y="116"/>
                  </a:lnTo>
                  <a:lnTo>
                    <a:pt x="258" y="128"/>
                  </a:lnTo>
                  <a:lnTo>
                    <a:pt x="258" y="128"/>
                  </a:lnTo>
                  <a:lnTo>
                    <a:pt x="258" y="142"/>
                  </a:lnTo>
                  <a:lnTo>
                    <a:pt x="256" y="154"/>
                  </a:lnTo>
                  <a:lnTo>
                    <a:pt x="252" y="166"/>
                  </a:lnTo>
                  <a:lnTo>
                    <a:pt x="248" y="178"/>
                  </a:lnTo>
                  <a:lnTo>
                    <a:pt x="242" y="190"/>
                  </a:lnTo>
                  <a:lnTo>
                    <a:pt x="236" y="200"/>
                  </a:lnTo>
                  <a:lnTo>
                    <a:pt x="220" y="220"/>
                  </a:lnTo>
                  <a:lnTo>
                    <a:pt x="202" y="236"/>
                  </a:lnTo>
                  <a:lnTo>
                    <a:pt x="190" y="242"/>
                  </a:lnTo>
                  <a:lnTo>
                    <a:pt x="180" y="248"/>
                  </a:lnTo>
                  <a:lnTo>
                    <a:pt x="168" y="252"/>
                  </a:lnTo>
                  <a:lnTo>
                    <a:pt x="154" y="256"/>
                  </a:lnTo>
                  <a:lnTo>
                    <a:pt x="142" y="258"/>
                  </a:lnTo>
                  <a:lnTo>
                    <a:pt x="128" y="258"/>
                  </a:lnTo>
                  <a:lnTo>
                    <a:pt x="128" y="258"/>
                  </a:lnTo>
                  <a:close/>
                  <a:moveTo>
                    <a:pt x="128" y="18"/>
                  </a:moveTo>
                  <a:lnTo>
                    <a:pt x="128" y="18"/>
                  </a:lnTo>
                  <a:lnTo>
                    <a:pt x="106" y="20"/>
                  </a:lnTo>
                  <a:lnTo>
                    <a:pt x="86" y="26"/>
                  </a:lnTo>
                  <a:lnTo>
                    <a:pt x="66" y="36"/>
                  </a:lnTo>
                  <a:lnTo>
                    <a:pt x="50" y="50"/>
                  </a:lnTo>
                  <a:lnTo>
                    <a:pt x="36" y="66"/>
                  </a:lnTo>
                  <a:lnTo>
                    <a:pt x="26" y="86"/>
                  </a:lnTo>
                  <a:lnTo>
                    <a:pt x="20" y="106"/>
                  </a:lnTo>
                  <a:lnTo>
                    <a:pt x="18" y="128"/>
                  </a:lnTo>
                  <a:lnTo>
                    <a:pt x="18" y="128"/>
                  </a:lnTo>
                  <a:lnTo>
                    <a:pt x="20" y="150"/>
                  </a:lnTo>
                  <a:lnTo>
                    <a:pt x="26" y="172"/>
                  </a:lnTo>
                  <a:lnTo>
                    <a:pt x="36" y="190"/>
                  </a:lnTo>
                  <a:lnTo>
                    <a:pt x="50" y="208"/>
                  </a:lnTo>
                  <a:lnTo>
                    <a:pt x="66" y="220"/>
                  </a:lnTo>
                  <a:lnTo>
                    <a:pt x="86" y="230"/>
                  </a:lnTo>
                  <a:lnTo>
                    <a:pt x="106" y="238"/>
                  </a:lnTo>
                  <a:lnTo>
                    <a:pt x="128" y="240"/>
                  </a:lnTo>
                  <a:lnTo>
                    <a:pt x="128" y="240"/>
                  </a:lnTo>
                  <a:lnTo>
                    <a:pt x="152" y="238"/>
                  </a:lnTo>
                  <a:lnTo>
                    <a:pt x="172" y="230"/>
                  </a:lnTo>
                  <a:lnTo>
                    <a:pt x="190" y="220"/>
                  </a:lnTo>
                  <a:lnTo>
                    <a:pt x="208" y="208"/>
                  </a:lnTo>
                  <a:lnTo>
                    <a:pt x="222" y="190"/>
                  </a:lnTo>
                  <a:lnTo>
                    <a:pt x="232" y="172"/>
                  </a:lnTo>
                  <a:lnTo>
                    <a:pt x="238" y="150"/>
                  </a:lnTo>
                  <a:lnTo>
                    <a:pt x="240" y="128"/>
                  </a:lnTo>
                  <a:lnTo>
                    <a:pt x="240" y="128"/>
                  </a:lnTo>
                  <a:lnTo>
                    <a:pt x="238" y="106"/>
                  </a:lnTo>
                  <a:lnTo>
                    <a:pt x="232" y="86"/>
                  </a:lnTo>
                  <a:lnTo>
                    <a:pt x="222" y="66"/>
                  </a:lnTo>
                  <a:lnTo>
                    <a:pt x="208" y="50"/>
                  </a:lnTo>
                  <a:lnTo>
                    <a:pt x="190" y="36"/>
                  </a:lnTo>
                  <a:lnTo>
                    <a:pt x="172" y="26"/>
                  </a:lnTo>
                  <a:lnTo>
                    <a:pt x="152" y="20"/>
                  </a:lnTo>
                  <a:lnTo>
                    <a:pt x="128" y="18"/>
                  </a:lnTo>
                  <a:lnTo>
                    <a:pt x="1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2" name="Freeform 117">
              <a:extLst>
                <a:ext uri="{FF2B5EF4-FFF2-40B4-BE49-F238E27FC236}">
                  <a16:creationId xmlns:a16="http://schemas.microsoft.com/office/drawing/2014/main" id="{F6D15572-876F-E574-B103-C9E84C88C4DC}"/>
                </a:ext>
              </a:extLst>
            </p:cNvPr>
            <p:cNvSpPr>
              <a:spLocks noEditPoints="1"/>
            </p:cNvSpPr>
            <p:nvPr/>
          </p:nvSpPr>
          <p:spPr bwMode="auto">
            <a:xfrm>
              <a:off x="1228" y="3275"/>
              <a:ext cx="86" cy="86"/>
            </a:xfrm>
            <a:custGeom>
              <a:avLst/>
              <a:gdLst>
                <a:gd name="T0" fmla="*/ 44 w 86"/>
                <a:gd name="T1" fmla="*/ 86 h 86"/>
                <a:gd name="T2" fmla="*/ 44 w 86"/>
                <a:gd name="T3" fmla="*/ 86 h 86"/>
                <a:gd name="T4" fmla="*/ 34 w 86"/>
                <a:gd name="T5" fmla="*/ 84 h 86"/>
                <a:gd name="T6" fmla="*/ 26 w 86"/>
                <a:gd name="T7" fmla="*/ 82 h 86"/>
                <a:gd name="T8" fmla="*/ 20 w 86"/>
                <a:gd name="T9" fmla="*/ 78 h 86"/>
                <a:gd name="T10" fmla="*/ 12 w 86"/>
                <a:gd name="T11" fmla="*/ 72 h 86"/>
                <a:gd name="T12" fmla="*/ 8 w 86"/>
                <a:gd name="T13" fmla="*/ 66 h 86"/>
                <a:gd name="T14" fmla="*/ 4 w 86"/>
                <a:gd name="T15" fmla="*/ 60 h 86"/>
                <a:gd name="T16" fmla="*/ 0 w 86"/>
                <a:gd name="T17" fmla="*/ 52 h 86"/>
                <a:gd name="T18" fmla="*/ 0 w 86"/>
                <a:gd name="T19" fmla="*/ 42 h 86"/>
                <a:gd name="T20" fmla="*/ 0 w 86"/>
                <a:gd name="T21" fmla="*/ 42 h 86"/>
                <a:gd name="T22" fmla="*/ 0 w 86"/>
                <a:gd name="T23" fmla="*/ 34 h 86"/>
                <a:gd name="T24" fmla="*/ 4 w 86"/>
                <a:gd name="T25" fmla="*/ 26 h 86"/>
                <a:gd name="T26" fmla="*/ 8 w 86"/>
                <a:gd name="T27" fmla="*/ 18 h 86"/>
                <a:gd name="T28" fmla="*/ 12 w 86"/>
                <a:gd name="T29" fmla="*/ 12 h 86"/>
                <a:gd name="T30" fmla="*/ 20 w 86"/>
                <a:gd name="T31" fmla="*/ 6 h 86"/>
                <a:gd name="T32" fmla="*/ 26 w 86"/>
                <a:gd name="T33" fmla="*/ 2 h 86"/>
                <a:gd name="T34" fmla="*/ 34 w 86"/>
                <a:gd name="T35" fmla="*/ 0 h 86"/>
                <a:gd name="T36" fmla="*/ 44 w 86"/>
                <a:gd name="T37" fmla="*/ 0 h 86"/>
                <a:gd name="T38" fmla="*/ 44 w 86"/>
                <a:gd name="T39" fmla="*/ 0 h 86"/>
                <a:gd name="T40" fmla="*/ 52 w 86"/>
                <a:gd name="T41" fmla="*/ 0 h 86"/>
                <a:gd name="T42" fmla="*/ 60 w 86"/>
                <a:gd name="T43" fmla="*/ 2 h 86"/>
                <a:gd name="T44" fmla="*/ 68 w 86"/>
                <a:gd name="T45" fmla="*/ 6 h 86"/>
                <a:gd name="T46" fmla="*/ 74 w 86"/>
                <a:gd name="T47" fmla="*/ 12 h 86"/>
                <a:gd name="T48" fmla="*/ 78 w 86"/>
                <a:gd name="T49" fmla="*/ 18 h 86"/>
                <a:gd name="T50" fmla="*/ 82 w 86"/>
                <a:gd name="T51" fmla="*/ 26 h 86"/>
                <a:gd name="T52" fmla="*/ 86 w 86"/>
                <a:gd name="T53" fmla="*/ 34 h 86"/>
                <a:gd name="T54" fmla="*/ 86 w 86"/>
                <a:gd name="T55" fmla="*/ 42 h 86"/>
                <a:gd name="T56" fmla="*/ 86 w 86"/>
                <a:gd name="T57" fmla="*/ 42 h 86"/>
                <a:gd name="T58" fmla="*/ 86 w 86"/>
                <a:gd name="T59" fmla="*/ 52 h 86"/>
                <a:gd name="T60" fmla="*/ 82 w 86"/>
                <a:gd name="T61" fmla="*/ 60 h 86"/>
                <a:gd name="T62" fmla="*/ 78 w 86"/>
                <a:gd name="T63" fmla="*/ 66 h 86"/>
                <a:gd name="T64" fmla="*/ 74 w 86"/>
                <a:gd name="T65" fmla="*/ 72 h 86"/>
                <a:gd name="T66" fmla="*/ 68 w 86"/>
                <a:gd name="T67" fmla="*/ 78 h 86"/>
                <a:gd name="T68" fmla="*/ 60 w 86"/>
                <a:gd name="T69" fmla="*/ 82 h 86"/>
                <a:gd name="T70" fmla="*/ 52 w 86"/>
                <a:gd name="T71" fmla="*/ 84 h 86"/>
                <a:gd name="T72" fmla="*/ 44 w 86"/>
                <a:gd name="T73" fmla="*/ 86 h 86"/>
                <a:gd name="T74" fmla="*/ 44 w 86"/>
                <a:gd name="T75" fmla="*/ 86 h 86"/>
                <a:gd name="T76" fmla="*/ 44 w 86"/>
                <a:gd name="T77" fmla="*/ 18 h 86"/>
                <a:gd name="T78" fmla="*/ 44 w 86"/>
                <a:gd name="T79" fmla="*/ 18 h 86"/>
                <a:gd name="T80" fmla="*/ 34 w 86"/>
                <a:gd name="T81" fmla="*/ 20 h 86"/>
                <a:gd name="T82" fmla="*/ 26 w 86"/>
                <a:gd name="T83" fmla="*/ 24 h 86"/>
                <a:gd name="T84" fmla="*/ 20 w 86"/>
                <a:gd name="T85" fmla="*/ 32 h 86"/>
                <a:gd name="T86" fmla="*/ 18 w 86"/>
                <a:gd name="T87" fmla="*/ 42 h 86"/>
                <a:gd name="T88" fmla="*/ 18 w 86"/>
                <a:gd name="T89" fmla="*/ 42 h 86"/>
                <a:gd name="T90" fmla="*/ 20 w 86"/>
                <a:gd name="T91" fmla="*/ 52 h 86"/>
                <a:gd name="T92" fmla="*/ 26 w 86"/>
                <a:gd name="T93" fmla="*/ 60 h 86"/>
                <a:gd name="T94" fmla="*/ 34 w 86"/>
                <a:gd name="T95" fmla="*/ 66 h 86"/>
                <a:gd name="T96" fmla="*/ 44 w 86"/>
                <a:gd name="T97" fmla="*/ 68 h 86"/>
                <a:gd name="T98" fmla="*/ 44 w 86"/>
                <a:gd name="T99" fmla="*/ 68 h 86"/>
                <a:gd name="T100" fmla="*/ 52 w 86"/>
                <a:gd name="T101" fmla="*/ 66 h 86"/>
                <a:gd name="T102" fmla="*/ 60 w 86"/>
                <a:gd name="T103" fmla="*/ 60 h 86"/>
                <a:gd name="T104" fmla="*/ 66 w 86"/>
                <a:gd name="T105" fmla="*/ 52 h 86"/>
                <a:gd name="T106" fmla="*/ 68 w 86"/>
                <a:gd name="T107" fmla="*/ 42 h 86"/>
                <a:gd name="T108" fmla="*/ 68 w 86"/>
                <a:gd name="T109" fmla="*/ 42 h 86"/>
                <a:gd name="T110" fmla="*/ 66 w 86"/>
                <a:gd name="T111" fmla="*/ 32 h 86"/>
                <a:gd name="T112" fmla="*/ 60 w 86"/>
                <a:gd name="T113" fmla="*/ 24 h 86"/>
                <a:gd name="T114" fmla="*/ 52 w 86"/>
                <a:gd name="T115" fmla="*/ 20 h 86"/>
                <a:gd name="T116" fmla="*/ 44 w 86"/>
                <a:gd name="T117" fmla="*/ 18 h 86"/>
                <a:gd name="T118" fmla="*/ 44 w 86"/>
                <a:gd name="T119"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86">
                  <a:moveTo>
                    <a:pt x="44" y="86"/>
                  </a:moveTo>
                  <a:lnTo>
                    <a:pt x="44" y="86"/>
                  </a:lnTo>
                  <a:lnTo>
                    <a:pt x="34" y="84"/>
                  </a:lnTo>
                  <a:lnTo>
                    <a:pt x="26" y="82"/>
                  </a:lnTo>
                  <a:lnTo>
                    <a:pt x="20" y="78"/>
                  </a:lnTo>
                  <a:lnTo>
                    <a:pt x="12" y="72"/>
                  </a:lnTo>
                  <a:lnTo>
                    <a:pt x="8" y="66"/>
                  </a:lnTo>
                  <a:lnTo>
                    <a:pt x="4" y="60"/>
                  </a:lnTo>
                  <a:lnTo>
                    <a:pt x="0" y="52"/>
                  </a:lnTo>
                  <a:lnTo>
                    <a:pt x="0" y="42"/>
                  </a:lnTo>
                  <a:lnTo>
                    <a:pt x="0" y="42"/>
                  </a:lnTo>
                  <a:lnTo>
                    <a:pt x="0" y="34"/>
                  </a:lnTo>
                  <a:lnTo>
                    <a:pt x="4" y="26"/>
                  </a:lnTo>
                  <a:lnTo>
                    <a:pt x="8" y="18"/>
                  </a:lnTo>
                  <a:lnTo>
                    <a:pt x="12" y="12"/>
                  </a:lnTo>
                  <a:lnTo>
                    <a:pt x="20" y="6"/>
                  </a:lnTo>
                  <a:lnTo>
                    <a:pt x="26" y="2"/>
                  </a:lnTo>
                  <a:lnTo>
                    <a:pt x="34" y="0"/>
                  </a:lnTo>
                  <a:lnTo>
                    <a:pt x="44" y="0"/>
                  </a:lnTo>
                  <a:lnTo>
                    <a:pt x="44" y="0"/>
                  </a:lnTo>
                  <a:lnTo>
                    <a:pt x="52" y="0"/>
                  </a:lnTo>
                  <a:lnTo>
                    <a:pt x="60" y="2"/>
                  </a:lnTo>
                  <a:lnTo>
                    <a:pt x="68" y="6"/>
                  </a:lnTo>
                  <a:lnTo>
                    <a:pt x="74" y="12"/>
                  </a:lnTo>
                  <a:lnTo>
                    <a:pt x="78" y="18"/>
                  </a:lnTo>
                  <a:lnTo>
                    <a:pt x="82" y="26"/>
                  </a:lnTo>
                  <a:lnTo>
                    <a:pt x="86" y="34"/>
                  </a:lnTo>
                  <a:lnTo>
                    <a:pt x="86" y="42"/>
                  </a:lnTo>
                  <a:lnTo>
                    <a:pt x="86" y="42"/>
                  </a:lnTo>
                  <a:lnTo>
                    <a:pt x="86" y="52"/>
                  </a:lnTo>
                  <a:lnTo>
                    <a:pt x="82" y="60"/>
                  </a:lnTo>
                  <a:lnTo>
                    <a:pt x="78" y="66"/>
                  </a:lnTo>
                  <a:lnTo>
                    <a:pt x="74" y="72"/>
                  </a:lnTo>
                  <a:lnTo>
                    <a:pt x="68" y="78"/>
                  </a:lnTo>
                  <a:lnTo>
                    <a:pt x="60" y="82"/>
                  </a:lnTo>
                  <a:lnTo>
                    <a:pt x="52" y="84"/>
                  </a:lnTo>
                  <a:lnTo>
                    <a:pt x="44" y="86"/>
                  </a:lnTo>
                  <a:lnTo>
                    <a:pt x="44" y="86"/>
                  </a:lnTo>
                  <a:close/>
                  <a:moveTo>
                    <a:pt x="44" y="18"/>
                  </a:moveTo>
                  <a:lnTo>
                    <a:pt x="44" y="18"/>
                  </a:lnTo>
                  <a:lnTo>
                    <a:pt x="34" y="20"/>
                  </a:lnTo>
                  <a:lnTo>
                    <a:pt x="26" y="24"/>
                  </a:lnTo>
                  <a:lnTo>
                    <a:pt x="20" y="32"/>
                  </a:lnTo>
                  <a:lnTo>
                    <a:pt x="18" y="42"/>
                  </a:lnTo>
                  <a:lnTo>
                    <a:pt x="18" y="42"/>
                  </a:lnTo>
                  <a:lnTo>
                    <a:pt x="20" y="52"/>
                  </a:lnTo>
                  <a:lnTo>
                    <a:pt x="26" y="60"/>
                  </a:lnTo>
                  <a:lnTo>
                    <a:pt x="34" y="66"/>
                  </a:lnTo>
                  <a:lnTo>
                    <a:pt x="44" y="68"/>
                  </a:lnTo>
                  <a:lnTo>
                    <a:pt x="44" y="68"/>
                  </a:lnTo>
                  <a:lnTo>
                    <a:pt x="52" y="66"/>
                  </a:lnTo>
                  <a:lnTo>
                    <a:pt x="60" y="60"/>
                  </a:lnTo>
                  <a:lnTo>
                    <a:pt x="66" y="52"/>
                  </a:lnTo>
                  <a:lnTo>
                    <a:pt x="68" y="42"/>
                  </a:lnTo>
                  <a:lnTo>
                    <a:pt x="68" y="42"/>
                  </a:lnTo>
                  <a:lnTo>
                    <a:pt x="66" y="32"/>
                  </a:lnTo>
                  <a:lnTo>
                    <a:pt x="60" y="24"/>
                  </a:lnTo>
                  <a:lnTo>
                    <a:pt x="52"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3" name="Freeform 118">
              <a:extLst>
                <a:ext uri="{FF2B5EF4-FFF2-40B4-BE49-F238E27FC236}">
                  <a16:creationId xmlns:a16="http://schemas.microsoft.com/office/drawing/2014/main" id="{706C7AFA-64FE-A72E-67B2-EA499A9EC8C1}"/>
                </a:ext>
              </a:extLst>
            </p:cNvPr>
            <p:cNvSpPr>
              <a:spLocks noEditPoints="1"/>
            </p:cNvSpPr>
            <p:nvPr/>
          </p:nvSpPr>
          <p:spPr bwMode="auto">
            <a:xfrm>
              <a:off x="856" y="3275"/>
              <a:ext cx="86" cy="86"/>
            </a:xfrm>
            <a:custGeom>
              <a:avLst/>
              <a:gdLst>
                <a:gd name="T0" fmla="*/ 42 w 86"/>
                <a:gd name="T1" fmla="*/ 86 h 86"/>
                <a:gd name="T2" fmla="*/ 42 w 86"/>
                <a:gd name="T3" fmla="*/ 86 h 86"/>
                <a:gd name="T4" fmla="*/ 34 w 86"/>
                <a:gd name="T5" fmla="*/ 84 h 86"/>
                <a:gd name="T6" fmla="*/ 26 w 86"/>
                <a:gd name="T7" fmla="*/ 82 h 86"/>
                <a:gd name="T8" fmla="*/ 18 w 86"/>
                <a:gd name="T9" fmla="*/ 78 h 86"/>
                <a:gd name="T10" fmla="*/ 12 w 86"/>
                <a:gd name="T11" fmla="*/ 72 h 86"/>
                <a:gd name="T12" fmla="*/ 8 w 86"/>
                <a:gd name="T13" fmla="*/ 66 h 86"/>
                <a:gd name="T14" fmla="*/ 4 w 86"/>
                <a:gd name="T15" fmla="*/ 60 h 86"/>
                <a:gd name="T16" fmla="*/ 0 w 86"/>
                <a:gd name="T17" fmla="*/ 52 h 86"/>
                <a:gd name="T18" fmla="*/ 0 w 86"/>
                <a:gd name="T19" fmla="*/ 42 h 86"/>
                <a:gd name="T20" fmla="*/ 0 w 86"/>
                <a:gd name="T21" fmla="*/ 42 h 86"/>
                <a:gd name="T22" fmla="*/ 0 w 86"/>
                <a:gd name="T23" fmla="*/ 34 h 86"/>
                <a:gd name="T24" fmla="*/ 4 w 86"/>
                <a:gd name="T25" fmla="*/ 26 h 86"/>
                <a:gd name="T26" fmla="*/ 8 w 86"/>
                <a:gd name="T27" fmla="*/ 18 h 86"/>
                <a:gd name="T28" fmla="*/ 12 w 86"/>
                <a:gd name="T29" fmla="*/ 12 h 86"/>
                <a:gd name="T30" fmla="*/ 18 w 86"/>
                <a:gd name="T31" fmla="*/ 6 h 86"/>
                <a:gd name="T32" fmla="*/ 26 w 86"/>
                <a:gd name="T33" fmla="*/ 2 h 86"/>
                <a:gd name="T34" fmla="*/ 34 w 86"/>
                <a:gd name="T35" fmla="*/ 0 h 86"/>
                <a:gd name="T36" fmla="*/ 42 w 86"/>
                <a:gd name="T37" fmla="*/ 0 h 86"/>
                <a:gd name="T38" fmla="*/ 42 w 86"/>
                <a:gd name="T39" fmla="*/ 0 h 86"/>
                <a:gd name="T40" fmla="*/ 52 w 86"/>
                <a:gd name="T41" fmla="*/ 0 h 86"/>
                <a:gd name="T42" fmla="*/ 60 w 86"/>
                <a:gd name="T43" fmla="*/ 2 h 86"/>
                <a:gd name="T44" fmla="*/ 66 w 86"/>
                <a:gd name="T45" fmla="*/ 6 h 86"/>
                <a:gd name="T46" fmla="*/ 72 w 86"/>
                <a:gd name="T47" fmla="*/ 12 h 86"/>
                <a:gd name="T48" fmla="*/ 78 w 86"/>
                <a:gd name="T49" fmla="*/ 18 h 86"/>
                <a:gd name="T50" fmla="*/ 82 w 86"/>
                <a:gd name="T51" fmla="*/ 26 h 86"/>
                <a:gd name="T52" fmla="*/ 84 w 86"/>
                <a:gd name="T53" fmla="*/ 34 h 86"/>
                <a:gd name="T54" fmla="*/ 86 w 86"/>
                <a:gd name="T55" fmla="*/ 42 h 86"/>
                <a:gd name="T56" fmla="*/ 86 w 86"/>
                <a:gd name="T57" fmla="*/ 42 h 86"/>
                <a:gd name="T58" fmla="*/ 84 w 86"/>
                <a:gd name="T59" fmla="*/ 52 h 86"/>
                <a:gd name="T60" fmla="*/ 82 w 86"/>
                <a:gd name="T61" fmla="*/ 60 h 86"/>
                <a:gd name="T62" fmla="*/ 78 w 86"/>
                <a:gd name="T63" fmla="*/ 66 h 86"/>
                <a:gd name="T64" fmla="*/ 72 w 86"/>
                <a:gd name="T65" fmla="*/ 72 h 86"/>
                <a:gd name="T66" fmla="*/ 66 w 86"/>
                <a:gd name="T67" fmla="*/ 78 h 86"/>
                <a:gd name="T68" fmla="*/ 60 w 86"/>
                <a:gd name="T69" fmla="*/ 82 h 86"/>
                <a:gd name="T70" fmla="*/ 52 w 86"/>
                <a:gd name="T71" fmla="*/ 84 h 86"/>
                <a:gd name="T72" fmla="*/ 42 w 86"/>
                <a:gd name="T73" fmla="*/ 86 h 86"/>
                <a:gd name="T74" fmla="*/ 42 w 86"/>
                <a:gd name="T75" fmla="*/ 86 h 86"/>
                <a:gd name="T76" fmla="*/ 42 w 86"/>
                <a:gd name="T77" fmla="*/ 18 h 86"/>
                <a:gd name="T78" fmla="*/ 42 w 86"/>
                <a:gd name="T79" fmla="*/ 18 h 86"/>
                <a:gd name="T80" fmla="*/ 32 w 86"/>
                <a:gd name="T81" fmla="*/ 20 h 86"/>
                <a:gd name="T82" fmla="*/ 26 w 86"/>
                <a:gd name="T83" fmla="*/ 24 h 86"/>
                <a:gd name="T84" fmla="*/ 20 w 86"/>
                <a:gd name="T85" fmla="*/ 32 h 86"/>
                <a:gd name="T86" fmla="*/ 18 w 86"/>
                <a:gd name="T87" fmla="*/ 42 h 86"/>
                <a:gd name="T88" fmla="*/ 18 w 86"/>
                <a:gd name="T89" fmla="*/ 42 h 86"/>
                <a:gd name="T90" fmla="*/ 20 w 86"/>
                <a:gd name="T91" fmla="*/ 52 h 86"/>
                <a:gd name="T92" fmla="*/ 26 w 86"/>
                <a:gd name="T93" fmla="*/ 60 h 86"/>
                <a:gd name="T94" fmla="*/ 32 w 86"/>
                <a:gd name="T95" fmla="*/ 66 h 86"/>
                <a:gd name="T96" fmla="*/ 42 w 86"/>
                <a:gd name="T97" fmla="*/ 68 h 86"/>
                <a:gd name="T98" fmla="*/ 42 w 86"/>
                <a:gd name="T99" fmla="*/ 68 h 86"/>
                <a:gd name="T100" fmla="*/ 52 w 86"/>
                <a:gd name="T101" fmla="*/ 66 h 86"/>
                <a:gd name="T102" fmla="*/ 60 w 86"/>
                <a:gd name="T103" fmla="*/ 60 h 86"/>
                <a:gd name="T104" fmla="*/ 66 w 86"/>
                <a:gd name="T105" fmla="*/ 52 h 86"/>
                <a:gd name="T106" fmla="*/ 68 w 86"/>
                <a:gd name="T107" fmla="*/ 42 h 86"/>
                <a:gd name="T108" fmla="*/ 68 w 86"/>
                <a:gd name="T109" fmla="*/ 42 h 86"/>
                <a:gd name="T110" fmla="*/ 66 w 86"/>
                <a:gd name="T111" fmla="*/ 32 h 86"/>
                <a:gd name="T112" fmla="*/ 60 w 86"/>
                <a:gd name="T113" fmla="*/ 24 h 86"/>
                <a:gd name="T114" fmla="*/ 52 w 86"/>
                <a:gd name="T115" fmla="*/ 20 h 86"/>
                <a:gd name="T116" fmla="*/ 42 w 86"/>
                <a:gd name="T117" fmla="*/ 18 h 86"/>
                <a:gd name="T118" fmla="*/ 42 w 86"/>
                <a:gd name="T119"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86">
                  <a:moveTo>
                    <a:pt x="42" y="86"/>
                  </a:moveTo>
                  <a:lnTo>
                    <a:pt x="42" y="86"/>
                  </a:lnTo>
                  <a:lnTo>
                    <a:pt x="34" y="84"/>
                  </a:lnTo>
                  <a:lnTo>
                    <a:pt x="26" y="82"/>
                  </a:lnTo>
                  <a:lnTo>
                    <a:pt x="18" y="78"/>
                  </a:lnTo>
                  <a:lnTo>
                    <a:pt x="12" y="72"/>
                  </a:lnTo>
                  <a:lnTo>
                    <a:pt x="8" y="66"/>
                  </a:lnTo>
                  <a:lnTo>
                    <a:pt x="4" y="60"/>
                  </a:lnTo>
                  <a:lnTo>
                    <a:pt x="0" y="52"/>
                  </a:lnTo>
                  <a:lnTo>
                    <a:pt x="0" y="42"/>
                  </a:lnTo>
                  <a:lnTo>
                    <a:pt x="0" y="42"/>
                  </a:lnTo>
                  <a:lnTo>
                    <a:pt x="0" y="34"/>
                  </a:lnTo>
                  <a:lnTo>
                    <a:pt x="4" y="26"/>
                  </a:lnTo>
                  <a:lnTo>
                    <a:pt x="8" y="18"/>
                  </a:lnTo>
                  <a:lnTo>
                    <a:pt x="12" y="12"/>
                  </a:lnTo>
                  <a:lnTo>
                    <a:pt x="18" y="6"/>
                  </a:lnTo>
                  <a:lnTo>
                    <a:pt x="26" y="2"/>
                  </a:lnTo>
                  <a:lnTo>
                    <a:pt x="34" y="0"/>
                  </a:lnTo>
                  <a:lnTo>
                    <a:pt x="42" y="0"/>
                  </a:lnTo>
                  <a:lnTo>
                    <a:pt x="42" y="0"/>
                  </a:lnTo>
                  <a:lnTo>
                    <a:pt x="52" y="0"/>
                  </a:lnTo>
                  <a:lnTo>
                    <a:pt x="60" y="2"/>
                  </a:lnTo>
                  <a:lnTo>
                    <a:pt x="66" y="6"/>
                  </a:lnTo>
                  <a:lnTo>
                    <a:pt x="72" y="12"/>
                  </a:lnTo>
                  <a:lnTo>
                    <a:pt x="78" y="18"/>
                  </a:lnTo>
                  <a:lnTo>
                    <a:pt x="82" y="26"/>
                  </a:lnTo>
                  <a:lnTo>
                    <a:pt x="84" y="34"/>
                  </a:lnTo>
                  <a:lnTo>
                    <a:pt x="86" y="42"/>
                  </a:lnTo>
                  <a:lnTo>
                    <a:pt x="86" y="42"/>
                  </a:lnTo>
                  <a:lnTo>
                    <a:pt x="84" y="52"/>
                  </a:lnTo>
                  <a:lnTo>
                    <a:pt x="82" y="60"/>
                  </a:lnTo>
                  <a:lnTo>
                    <a:pt x="78" y="66"/>
                  </a:lnTo>
                  <a:lnTo>
                    <a:pt x="72" y="72"/>
                  </a:lnTo>
                  <a:lnTo>
                    <a:pt x="66" y="78"/>
                  </a:lnTo>
                  <a:lnTo>
                    <a:pt x="60" y="82"/>
                  </a:lnTo>
                  <a:lnTo>
                    <a:pt x="52" y="84"/>
                  </a:lnTo>
                  <a:lnTo>
                    <a:pt x="42" y="86"/>
                  </a:lnTo>
                  <a:lnTo>
                    <a:pt x="42" y="86"/>
                  </a:lnTo>
                  <a:close/>
                  <a:moveTo>
                    <a:pt x="42" y="18"/>
                  </a:moveTo>
                  <a:lnTo>
                    <a:pt x="42" y="18"/>
                  </a:lnTo>
                  <a:lnTo>
                    <a:pt x="32" y="20"/>
                  </a:lnTo>
                  <a:lnTo>
                    <a:pt x="26" y="24"/>
                  </a:lnTo>
                  <a:lnTo>
                    <a:pt x="20" y="32"/>
                  </a:lnTo>
                  <a:lnTo>
                    <a:pt x="18" y="42"/>
                  </a:lnTo>
                  <a:lnTo>
                    <a:pt x="18" y="42"/>
                  </a:lnTo>
                  <a:lnTo>
                    <a:pt x="20" y="52"/>
                  </a:lnTo>
                  <a:lnTo>
                    <a:pt x="26" y="60"/>
                  </a:lnTo>
                  <a:lnTo>
                    <a:pt x="32" y="66"/>
                  </a:lnTo>
                  <a:lnTo>
                    <a:pt x="42" y="68"/>
                  </a:lnTo>
                  <a:lnTo>
                    <a:pt x="42" y="68"/>
                  </a:lnTo>
                  <a:lnTo>
                    <a:pt x="52" y="66"/>
                  </a:lnTo>
                  <a:lnTo>
                    <a:pt x="60" y="60"/>
                  </a:lnTo>
                  <a:lnTo>
                    <a:pt x="66" y="52"/>
                  </a:lnTo>
                  <a:lnTo>
                    <a:pt x="68" y="42"/>
                  </a:lnTo>
                  <a:lnTo>
                    <a:pt x="68" y="42"/>
                  </a:lnTo>
                  <a:lnTo>
                    <a:pt x="66"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4" name="Freeform 119">
              <a:extLst>
                <a:ext uri="{FF2B5EF4-FFF2-40B4-BE49-F238E27FC236}">
                  <a16:creationId xmlns:a16="http://schemas.microsoft.com/office/drawing/2014/main" id="{C58EE523-983D-0F0C-382C-3930168D4475}"/>
                </a:ext>
              </a:extLst>
            </p:cNvPr>
            <p:cNvSpPr>
              <a:spLocks/>
            </p:cNvSpPr>
            <p:nvPr/>
          </p:nvSpPr>
          <p:spPr bwMode="auto">
            <a:xfrm>
              <a:off x="776" y="3177"/>
              <a:ext cx="90" cy="88"/>
            </a:xfrm>
            <a:custGeom>
              <a:avLst/>
              <a:gdLst>
                <a:gd name="T0" fmla="*/ 18 w 90"/>
                <a:gd name="T1" fmla="*/ 88 h 88"/>
                <a:gd name="T2" fmla="*/ 0 w 90"/>
                <a:gd name="T3" fmla="*/ 88 h 88"/>
                <a:gd name="T4" fmla="*/ 0 w 90"/>
                <a:gd name="T5" fmla="*/ 0 h 88"/>
                <a:gd name="T6" fmla="*/ 90 w 90"/>
                <a:gd name="T7" fmla="*/ 0 h 88"/>
                <a:gd name="T8" fmla="*/ 90 w 90"/>
                <a:gd name="T9" fmla="*/ 18 h 88"/>
                <a:gd name="T10" fmla="*/ 18 w 90"/>
                <a:gd name="T11" fmla="*/ 18 h 88"/>
                <a:gd name="T12" fmla="*/ 18 w 90"/>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90" h="88">
                  <a:moveTo>
                    <a:pt x="18" y="88"/>
                  </a:moveTo>
                  <a:lnTo>
                    <a:pt x="0" y="88"/>
                  </a:lnTo>
                  <a:lnTo>
                    <a:pt x="0" y="0"/>
                  </a:lnTo>
                  <a:lnTo>
                    <a:pt x="90" y="0"/>
                  </a:lnTo>
                  <a:lnTo>
                    <a:pt x="90" y="18"/>
                  </a:lnTo>
                  <a:lnTo>
                    <a:pt x="18" y="18"/>
                  </a:lnTo>
                  <a:lnTo>
                    <a:pt x="18"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5" name="Freeform 120">
              <a:extLst>
                <a:ext uri="{FF2B5EF4-FFF2-40B4-BE49-F238E27FC236}">
                  <a16:creationId xmlns:a16="http://schemas.microsoft.com/office/drawing/2014/main" id="{026211F6-A5B6-E00E-E2FF-A862D1B9E120}"/>
                </a:ext>
              </a:extLst>
            </p:cNvPr>
            <p:cNvSpPr>
              <a:spLocks/>
            </p:cNvSpPr>
            <p:nvPr/>
          </p:nvSpPr>
          <p:spPr bwMode="auto">
            <a:xfrm>
              <a:off x="776" y="3369"/>
              <a:ext cx="90" cy="90"/>
            </a:xfrm>
            <a:custGeom>
              <a:avLst/>
              <a:gdLst>
                <a:gd name="T0" fmla="*/ 90 w 90"/>
                <a:gd name="T1" fmla="*/ 90 h 90"/>
                <a:gd name="T2" fmla="*/ 0 w 90"/>
                <a:gd name="T3" fmla="*/ 90 h 90"/>
                <a:gd name="T4" fmla="*/ 0 w 90"/>
                <a:gd name="T5" fmla="*/ 0 h 90"/>
                <a:gd name="T6" fmla="*/ 18 w 90"/>
                <a:gd name="T7" fmla="*/ 0 h 90"/>
                <a:gd name="T8" fmla="*/ 18 w 90"/>
                <a:gd name="T9" fmla="*/ 72 h 90"/>
                <a:gd name="T10" fmla="*/ 90 w 90"/>
                <a:gd name="T11" fmla="*/ 72 h 90"/>
                <a:gd name="T12" fmla="*/ 90 w 9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90" y="90"/>
                  </a:moveTo>
                  <a:lnTo>
                    <a:pt x="0" y="90"/>
                  </a:lnTo>
                  <a:lnTo>
                    <a:pt x="0" y="0"/>
                  </a:lnTo>
                  <a:lnTo>
                    <a:pt x="18" y="0"/>
                  </a:lnTo>
                  <a:lnTo>
                    <a:pt x="18" y="72"/>
                  </a:lnTo>
                  <a:lnTo>
                    <a:pt x="90" y="72"/>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6" name="Freeform 121">
              <a:extLst>
                <a:ext uri="{FF2B5EF4-FFF2-40B4-BE49-F238E27FC236}">
                  <a16:creationId xmlns:a16="http://schemas.microsoft.com/office/drawing/2014/main" id="{E7454D47-A131-8A23-9144-2FD7F1CE9D6D}"/>
                </a:ext>
              </a:extLst>
            </p:cNvPr>
            <p:cNvSpPr>
              <a:spLocks/>
            </p:cNvSpPr>
            <p:nvPr/>
          </p:nvSpPr>
          <p:spPr bwMode="auto">
            <a:xfrm>
              <a:off x="1304" y="3177"/>
              <a:ext cx="90" cy="88"/>
            </a:xfrm>
            <a:custGeom>
              <a:avLst/>
              <a:gdLst>
                <a:gd name="T0" fmla="*/ 90 w 90"/>
                <a:gd name="T1" fmla="*/ 88 h 88"/>
                <a:gd name="T2" fmla="*/ 72 w 90"/>
                <a:gd name="T3" fmla="*/ 88 h 88"/>
                <a:gd name="T4" fmla="*/ 72 w 90"/>
                <a:gd name="T5" fmla="*/ 18 h 88"/>
                <a:gd name="T6" fmla="*/ 0 w 90"/>
                <a:gd name="T7" fmla="*/ 18 h 88"/>
                <a:gd name="T8" fmla="*/ 0 w 90"/>
                <a:gd name="T9" fmla="*/ 0 h 88"/>
                <a:gd name="T10" fmla="*/ 90 w 90"/>
                <a:gd name="T11" fmla="*/ 0 h 88"/>
                <a:gd name="T12" fmla="*/ 90 w 90"/>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90" h="88">
                  <a:moveTo>
                    <a:pt x="90" y="88"/>
                  </a:moveTo>
                  <a:lnTo>
                    <a:pt x="72" y="88"/>
                  </a:lnTo>
                  <a:lnTo>
                    <a:pt x="72" y="18"/>
                  </a:lnTo>
                  <a:lnTo>
                    <a:pt x="0" y="18"/>
                  </a:lnTo>
                  <a:lnTo>
                    <a:pt x="0" y="0"/>
                  </a:lnTo>
                  <a:lnTo>
                    <a:pt x="90" y="0"/>
                  </a:lnTo>
                  <a:lnTo>
                    <a:pt x="9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7" name="Freeform 122">
              <a:extLst>
                <a:ext uri="{FF2B5EF4-FFF2-40B4-BE49-F238E27FC236}">
                  <a16:creationId xmlns:a16="http://schemas.microsoft.com/office/drawing/2014/main" id="{FCEEB6E9-39F7-F44E-AD73-FDDE9D477BE0}"/>
                </a:ext>
              </a:extLst>
            </p:cNvPr>
            <p:cNvSpPr>
              <a:spLocks/>
            </p:cNvSpPr>
            <p:nvPr/>
          </p:nvSpPr>
          <p:spPr bwMode="auto">
            <a:xfrm>
              <a:off x="1304" y="3369"/>
              <a:ext cx="90" cy="90"/>
            </a:xfrm>
            <a:custGeom>
              <a:avLst/>
              <a:gdLst>
                <a:gd name="T0" fmla="*/ 90 w 90"/>
                <a:gd name="T1" fmla="*/ 90 h 90"/>
                <a:gd name="T2" fmla="*/ 0 w 90"/>
                <a:gd name="T3" fmla="*/ 90 h 90"/>
                <a:gd name="T4" fmla="*/ 0 w 90"/>
                <a:gd name="T5" fmla="*/ 72 h 90"/>
                <a:gd name="T6" fmla="*/ 72 w 90"/>
                <a:gd name="T7" fmla="*/ 72 h 90"/>
                <a:gd name="T8" fmla="*/ 72 w 90"/>
                <a:gd name="T9" fmla="*/ 0 h 90"/>
                <a:gd name="T10" fmla="*/ 90 w 90"/>
                <a:gd name="T11" fmla="*/ 0 h 90"/>
                <a:gd name="T12" fmla="*/ 90 w 9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90" y="90"/>
                  </a:moveTo>
                  <a:lnTo>
                    <a:pt x="0" y="90"/>
                  </a:lnTo>
                  <a:lnTo>
                    <a:pt x="0" y="72"/>
                  </a:lnTo>
                  <a:lnTo>
                    <a:pt x="72" y="72"/>
                  </a:lnTo>
                  <a:lnTo>
                    <a:pt x="72" y="0"/>
                  </a:lnTo>
                  <a:lnTo>
                    <a:pt x="90" y="0"/>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8" name="Freeform 123">
              <a:extLst>
                <a:ext uri="{FF2B5EF4-FFF2-40B4-BE49-F238E27FC236}">
                  <a16:creationId xmlns:a16="http://schemas.microsoft.com/office/drawing/2014/main" id="{1050E9B4-4C02-73E1-3B87-11E50A3EBDF4}"/>
                </a:ext>
              </a:extLst>
            </p:cNvPr>
            <p:cNvSpPr>
              <a:spLocks/>
            </p:cNvSpPr>
            <p:nvPr/>
          </p:nvSpPr>
          <p:spPr bwMode="auto">
            <a:xfrm>
              <a:off x="654" y="2909"/>
              <a:ext cx="438" cy="572"/>
            </a:xfrm>
            <a:custGeom>
              <a:avLst/>
              <a:gdLst>
                <a:gd name="T0" fmla="*/ 18 w 438"/>
                <a:gd name="T1" fmla="*/ 572 h 572"/>
                <a:gd name="T2" fmla="*/ 0 w 438"/>
                <a:gd name="T3" fmla="*/ 572 h 572"/>
                <a:gd name="T4" fmla="*/ 0 w 438"/>
                <a:gd name="T5" fmla="*/ 34 h 572"/>
                <a:gd name="T6" fmla="*/ 0 w 438"/>
                <a:gd name="T7" fmla="*/ 34 h 572"/>
                <a:gd name="T8" fmla="*/ 0 w 438"/>
                <a:gd name="T9" fmla="*/ 26 h 572"/>
                <a:gd name="T10" fmla="*/ 2 w 438"/>
                <a:gd name="T11" fmla="*/ 20 h 572"/>
                <a:gd name="T12" fmla="*/ 6 w 438"/>
                <a:gd name="T13" fmla="*/ 14 h 572"/>
                <a:gd name="T14" fmla="*/ 10 w 438"/>
                <a:gd name="T15" fmla="*/ 10 h 572"/>
                <a:gd name="T16" fmla="*/ 14 w 438"/>
                <a:gd name="T17" fmla="*/ 6 h 572"/>
                <a:gd name="T18" fmla="*/ 20 w 438"/>
                <a:gd name="T19" fmla="*/ 4 h 572"/>
                <a:gd name="T20" fmla="*/ 26 w 438"/>
                <a:gd name="T21" fmla="*/ 2 h 572"/>
                <a:gd name="T22" fmla="*/ 32 w 438"/>
                <a:gd name="T23" fmla="*/ 0 h 572"/>
                <a:gd name="T24" fmla="*/ 406 w 438"/>
                <a:gd name="T25" fmla="*/ 0 h 572"/>
                <a:gd name="T26" fmla="*/ 406 w 438"/>
                <a:gd name="T27" fmla="*/ 0 h 572"/>
                <a:gd name="T28" fmla="*/ 412 w 438"/>
                <a:gd name="T29" fmla="*/ 2 h 572"/>
                <a:gd name="T30" fmla="*/ 418 w 438"/>
                <a:gd name="T31" fmla="*/ 4 h 572"/>
                <a:gd name="T32" fmla="*/ 424 w 438"/>
                <a:gd name="T33" fmla="*/ 6 h 572"/>
                <a:gd name="T34" fmla="*/ 428 w 438"/>
                <a:gd name="T35" fmla="*/ 10 h 572"/>
                <a:gd name="T36" fmla="*/ 432 w 438"/>
                <a:gd name="T37" fmla="*/ 14 h 572"/>
                <a:gd name="T38" fmla="*/ 436 w 438"/>
                <a:gd name="T39" fmla="*/ 20 h 572"/>
                <a:gd name="T40" fmla="*/ 438 w 438"/>
                <a:gd name="T41" fmla="*/ 26 h 572"/>
                <a:gd name="T42" fmla="*/ 438 w 438"/>
                <a:gd name="T43" fmla="*/ 34 h 572"/>
                <a:gd name="T44" fmla="*/ 438 w 438"/>
                <a:gd name="T45" fmla="*/ 202 h 572"/>
                <a:gd name="T46" fmla="*/ 420 w 438"/>
                <a:gd name="T47" fmla="*/ 202 h 572"/>
                <a:gd name="T48" fmla="*/ 420 w 438"/>
                <a:gd name="T49" fmla="*/ 34 h 572"/>
                <a:gd name="T50" fmla="*/ 420 w 438"/>
                <a:gd name="T51" fmla="*/ 34 h 572"/>
                <a:gd name="T52" fmla="*/ 418 w 438"/>
                <a:gd name="T53" fmla="*/ 28 h 572"/>
                <a:gd name="T54" fmla="*/ 416 w 438"/>
                <a:gd name="T55" fmla="*/ 22 h 572"/>
                <a:gd name="T56" fmla="*/ 410 w 438"/>
                <a:gd name="T57" fmla="*/ 20 h 572"/>
                <a:gd name="T58" fmla="*/ 406 w 438"/>
                <a:gd name="T59" fmla="*/ 18 h 572"/>
                <a:gd name="T60" fmla="*/ 32 w 438"/>
                <a:gd name="T61" fmla="*/ 18 h 572"/>
                <a:gd name="T62" fmla="*/ 32 w 438"/>
                <a:gd name="T63" fmla="*/ 18 h 572"/>
                <a:gd name="T64" fmla="*/ 26 w 438"/>
                <a:gd name="T65" fmla="*/ 20 h 572"/>
                <a:gd name="T66" fmla="*/ 22 w 438"/>
                <a:gd name="T67" fmla="*/ 22 h 572"/>
                <a:gd name="T68" fmla="*/ 20 w 438"/>
                <a:gd name="T69" fmla="*/ 28 h 572"/>
                <a:gd name="T70" fmla="*/ 18 w 438"/>
                <a:gd name="T71" fmla="*/ 34 h 572"/>
                <a:gd name="T72" fmla="*/ 18 w 438"/>
                <a:gd name="T73" fmla="*/ 57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8" h="572">
                  <a:moveTo>
                    <a:pt x="18" y="572"/>
                  </a:moveTo>
                  <a:lnTo>
                    <a:pt x="0" y="572"/>
                  </a:lnTo>
                  <a:lnTo>
                    <a:pt x="0" y="34"/>
                  </a:lnTo>
                  <a:lnTo>
                    <a:pt x="0" y="34"/>
                  </a:lnTo>
                  <a:lnTo>
                    <a:pt x="0" y="26"/>
                  </a:lnTo>
                  <a:lnTo>
                    <a:pt x="2" y="20"/>
                  </a:lnTo>
                  <a:lnTo>
                    <a:pt x="6" y="14"/>
                  </a:lnTo>
                  <a:lnTo>
                    <a:pt x="10" y="10"/>
                  </a:lnTo>
                  <a:lnTo>
                    <a:pt x="14" y="6"/>
                  </a:lnTo>
                  <a:lnTo>
                    <a:pt x="20" y="4"/>
                  </a:lnTo>
                  <a:lnTo>
                    <a:pt x="26" y="2"/>
                  </a:lnTo>
                  <a:lnTo>
                    <a:pt x="32" y="0"/>
                  </a:lnTo>
                  <a:lnTo>
                    <a:pt x="406" y="0"/>
                  </a:lnTo>
                  <a:lnTo>
                    <a:pt x="406" y="0"/>
                  </a:lnTo>
                  <a:lnTo>
                    <a:pt x="412" y="2"/>
                  </a:lnTo>
                  <a:lnTo>
                    <a:pt x="418" y="4"/>
                  </a:lnTo>
                  <a:lnTo>
                    <a:pt x="424" y="6"/>
                  </a:lnTo>
                  <a:lnTo>
                    <a:pt x="428" y="10"/>
                  </a:lnTo>
                  <a:lnTo>
                    <a:pt x="432" y="14"/>
                  </a:lnTo>
                  <a:lnTo>
                    <a:pt x="436" y="20"/>
                  </a:lnTo>
                  <a:lnTo>
                    <a:pt x="438" y="26"/>
                  </a:lnTo>
                  <a:lnTo>
                    <a:pt x="438" y="34"/>
                  </a:lnTo>
                  <a:lnTo>
                    <a:pt x="438" y="202"/>
                  </a:lnTo>
                  <a:lnTo>
                    <a:pt x="420" y="202"/>
                  </a:lnTo>
                  <a:lnTo>
                    <a:pt x="420" y="34"/>
                  </a:lnTo>
                  <a:lnTo>
                    <a:pt x="420" y="34"/>
                  </a:lnTo>
                  <a:lnTo>
                    <a:pt x="418" y="28"/>
                  </a:lnTo>
                  <a:lnTo>
                    <a:pt x="416" y="22"/>
                  </a:lnTo>
                  <a:lnTo>
                    <a:pt x="410" y="20"/>
                  </a:lnTo>
                  <a:lnTo>
                    <a:pt x="406" y="18"/>
                  </a:lnTo>
                  <a:lnTo>
                    <a:pt x="32" y="18"/>
                  </a:lnTo>
                  <a:lnTo>
                    <a:pt x="32" y="18"/>
                  </a:lnTo>
                  <a:lnTo>
                    <a:pt x="26" y="20"/>
                  </a:lnTo>
                  <a:lnTo>
                    <a:pt x="22" y="22"/>
                  </a:lnTo>
                  <a:lnTo>
                    <a:pt x="20" y="28"/>
                  </a:lnTo>
                  <a:lnTo>
                    <a:pt x="18" y="34"/>
                  </a:lnTo>
                  <a:lnTo>
                    <a:pt x="1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09" name="Freeform 124">
              <a:extLst>
                <a:ext uri="{FF2B5EF4-FFF2-40B4-BE49-F238E27FC236}">
                  <a16:creationId xmlns:a16="http://schemas.microsoft.com/office/drawing/2014/main" id="{DB50C3DE-0A1F-F641-D52F-4A99732D282F}"/>
                </a:ext>
              </a:extLst>
            </p:cNvPr>
            <p:cNvSpPr>
              <a:spLocks/>
            </p:cNvSpPr>
            <p:nvPr/>
          </p:nvSpPr>
          <p:spPr bwMode="auto">
            <a:xfrm>
              <a:off x="654" y="3449"/>
              <a:ext cx="438" cy="276"/>
            </a:xfrm>
            <a:custGeom>
              <a:avLst/>
              <a:gdLst>
                <a:gd name="T0" fmla="*/ 406 w 438"/>
                <a:gd name="T1" fmla="*/ 276 h 276"/>
                <a:gd name="T2" fmla="*/ 32 w 438"/>
                <a:gd name="T3" fmla="*/ 276 h 276"/>
                <a:gd name="T4" fmla="*/ 32 w 438"/>
                <a:gd name="T5" fmla="*/ 276 h 276"/>
                <a:gd name="T6" fmla="*/ 26 w 438"/>
                <a:gd name="T7" fmla="*/ 276 h 276"/>
                <a:gd name="T8" fmla="*/ 20 w 438"/>
                <a:gd name="T9" fmla="*/ 274 h 276"/>
                <a:gd name="T10" fmla="*/ 14 w 438"/>
                <a:gd name="T11" fmla="*/ 270 h 276"/>
                <a:gd name="T12" fmla="*/ 10 w 438"/>
                <a:gd name="T13" fmla="*/ 266 h 276"/>
                <a:gd name="T14" fmla="*/ 6 w 438"/>
                <a:gd name="T15" fmla="*/ 262 h 276"/>
                <a:gd name="T16" fmla="*/ 2 w 438"/>
                <a:gd name="T17" fmla="*/ 256 h 276"/>
                <a:gd name="T18" fmla="*/ 0 w 438"/>
                <a:gd name="T19" fmla="*/ 250 h 276"/>
                <a:gd name="T20" fmla="*/ 0 w 438"/>
                <a:gd name="T21" fmla="*/ 244 h 276"/>
                <a:gd name="T22" fmla="*/ 0 w 438"/>
                <a:gd name="T23" fmla="*/ 0 h 276"/>
                <a:gd name="T24" fmla="*/ 18 w 438"/>
                <a:gd name="T25" fmla="*/ 0 h 276"/>
                <a:gd name="T26" fmla="*/ 18 w 438"/>
                <a:gd name="T27" fmla="*/ 244 h 276"/>
                <a:gd name="T28" fmla="*/ 18 w 438"/>
                <a:gd name="T29" fmla="*/ 244 h 276"/>
                <a:gd name="T30" fmla="*/ 20 w 438"/>
                <a:gd name="T31" fmla="*/ 250 h 276"/>
                <a:gd name="T32" fmla="*/ 22 w 438"/>
                <a:gd name="T33" fmla="*/ 254 h 276"/>
                <a:gd name="T34" fmla="*/ 26 w 438"/>
                <a:gd name="T35" fmla="*/ 258 h 276"/>
                <a:gd name="T36" fmla="*/ 32 w 438"/>
                <a:gd name="T37" fmla="*/ 258 h 276"/>
                <a:gd name="T38" fmla="*/ 406 w 438"/>
                <a:gd name="T39" fmla="*/ 258 h 276"/>
                <a:gd name="T40" fmla="*/ 406 w 438"/>
                <a:gd name="T41" fmla="*/ 258 h 276"/>
                <a:gd name="T42" fmla="*/ 410 w 438"/>
                <a:gd name="T43" fmla="*/ 258 h 276"/>
                <a:gd name="T44" fmla="*/ 416 w 438"/>
                <a:gd name="T45" fmla="*/ 254 h 276"/>
                <a:gd name="T46" fmla="*/ 418 w 438"/>
                <a:gd name="T47" fmla="*/ 250 h 276"/>
                <a:gd name="T48" fmla="*/ 420 w 438"/>
                <a:gd name="T49" fmla="*/ 244 h 276"/>
                <a:gd name="T50" fmla="*/ 420 w 438"/>
                <a:gd name="T51" fmla="*/ 68 h 276"/>
                <a:gd name="T52" fmla="*/ 438 w 438"/>
                <a:gd name="T53" fmla="*/ 68 h 276"/>
                <a:gd name="T54" fmla="*/ 438 w 438"/>
                <a:gd name="T55" fmla="*/ 244 h 276"/>
                <a:gd name="T56" fmla="*/ 438 w 438"/>
                <a:gd name="T57" fmla="*/ 244 h 276"/>
                <a:gd name="T58" fmla="*/ 438 w 438"/>
                <a:gd name="T59" fmla="*/ 250 h 276"/>
                <a:gd name="T60" fmla="*/ 436 w 438"/>
                <a:gd name="T61" fmla="*/ 256 h 276"/>
                <a:gd name="T62" fmla="*/ 432 w 438"/>
                <a:gd name="T63" fmla="*/ 262 h 276"/>
                <a:gd name="T64" fmla="*/ 428 w 438"/>
                <a:gd name="T65" fmla="*/ 266 h 276"/>
                <a:gd name="T66" fmla="*/ 424 w 438"/>
                <a:gd name="T67" fmla="*/ 270 h 276"/>
                <a:gd name="T68" fmla="*/ 418 w 438"/>
                <a:gd name="T69" fmla="*/ 274 h 276"/>
                <a:gd name="T70" fmla="*/ 412 w 438"/>
                <a:gd name="T71" fmla="*/ 276 h 276"/>
                <a:gd name="T72" fmla="*/ 406 w 438"/>
                <a:gd name="T73" fmla="*/ 276 h 276"/>
                <a:gd name="T74" fmla="*/ 406 w 438"/>
                <a:gd name="T7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8" h="276">
                  <a:moveTo>
                    <a:pt x="406" y="276"/>
                  </a:moveTo>
                  <a:lnTo>
                    <a:pt x="32" y="276"/>
                  </a:lnTo>
                  <a:lnTo>
                    <a:pt x="32" y="276"/>
                  </a:lnTo>
                  <a:lnTo>
                    <a:pt x="26" y="276"/>
                  </a:lnTo>
                  <a:lnTo>
                    <a:pt x="20" y="274"/>
                  </a:lnTo>
                  <a:lnTo>
                    <a:pt x="14" y="270"/>
                  </a:lnTo>
                  <a:lnTo>
                    <a:pt x="10" y="266"/>
                  </a:lnTo>
                  <a:lnTo>
                    <a:pt x="6" y="262"/>
                  </a:lnTo>
                  <a:lnTo>
                    <a:pt x="2" y="256"/>
                  </a:lnTo>
                  <a:lnTo>
                    <a:pt x="0" y="250"/>
                  </a:lnTo>
                  <a:lnTo>
                    <a:pt x="0" y="244"/>
                  </a:lnTo>
                  <a:lnTo>
                    <a:pt x="0" y="0"/>
                  </a:lnTo>
                  <a:lnTo>
                    <a:pt x="18" y="0"/>
                  </a:lnTo>
                  <a:lnTo>
                    <a:pt x="18" y="244"/>
                  </a:lnTo>
                  <a:lnTo>
                    <a:pt x="18" y="244"/>
                  </a:lnTo>
                  <a:lnTo>
                    <a:pt x="20" y="250"/>
                  </a:lnTo>
                  <a:lnTo>
                    <a:pt x="22" y="254"/>
                  </a:lnTo>
                  <a:lnTo>
                    <a:pt x="26" y="258"/>
                  </a:lnTo>
                  <a:lnTo>
                    <a:pt x="32" y="258"/>
                  </a:lnTo>
                  <a:lnTo>
                    <a:pt x="406" y="258"/>
                  </a:lnTo>
                  <a:lnTo>
                    <a:pt x="406" y="258"/>
                  </a:lnTo>
                  <a:lnTo>
                    <a:pt x="410" y="258"/>
                  </a:lnTo>
                  <a:lnTo>
                    <a:pt x="416" y="254"/>
                  </a:lnTo>
                  <a:lnTo>
                    <a:pt x="418" y="250"/>
                  </a:lnTo>
                  <a:lnTo>
                    <a:pt x="420" y="244"/>
                  </a:lnTo>
                  <a:lnTo>
                    <a:pt x="420" y="68"/>
                  </a:lnTo>
                  <a:lnTo>
                    <a:pt x="438" y="68"/>
                  </a:lnTo>
                  <a:lnTo>
                    <a:pt x="438" y="244"/>
                  </a:lnTo>
                  <a:lnTo>
                    <a:pt x="438" y="244"/>
                  </a:lnTo>
                  <a:lnTo>
                    <a:pt x="438" y="250"/>
                  </a:lnTo>
                  <a:lnTo>
                    <a:pt x="436" y="256"/>
                  </a:lnTo>
                  <a:lnTo>
                    <a:pt x="432" y="262"/>
                  </a:lnTo>
                  <a:lnTo>
                    <a:pt x="428" y="266"/>
                  </a:lnTo>
                  <a:lnTo>
                    <a:pt x="424" y="270"/>
                  </a:lnTo>
                  <a:lnTo>
                    <a:pt x="418" y="274"/>
                  </a:lnTo>
                  <a:lnTo>
                    <a:pt x="412" y="276"/>
                  </a:lnTo>
                  <a:lnTo>
                    <a:pt x="406" y="276"/>
                  </a:lnTo>
                  <a:lnTo>
                    <a:pt x="406"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0" name="Rectangle 125">
              <a:extLst>
                <a:ext uri="{FF2B5EF4-FFF2-40B4-BE49-F238E27FC236}">
                  <a16:creationId xmlns:a16="http://schemas.microsoft.com/office/drawing/2014/main" id="{F96A0DF2-821C-CD6A-1FB8-C6277B8FBCC3}"/>
                </a:ext>
              </a:extLst>
            </p:cNvPr>
            <p:cNvSpPr>
              <a:spLocks noChangeArrowheads="1"/>
            </p:cNvSpPr>
            <p:nvPr/>
          </p:nvSpPr>
          <p:spPr bwMode="auto">
            <a:xfrm>
              <a:off x="654" y="2991"/>
              <a:ext cx="43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1" name="Rectangle 126">
              <a:extLst>
                <a:ext uri="{FF2B5EF4-FFF2-40B4-BE49-F238E27FC236}">
                  <a16:creationId xmlns:a16="http://schemas.microsoft.com/office/drawing/2014/main" id="{EA4B3F41-12E2-D125-A08C-E996382BFDCC}"/>
                </a:ext>
              </a:extLst>
            </p:cNvPr>
            <p:cNvSpPr>
              <a:spLocks noChangeArrowheads="1"/>
            </p:cNvSpPr>
            <p:nvPr/>
          </p:nvSpPr>
          <p:spPr bwMode="auto">
            <a:xfrm>
              <a:off x="654" y="3573"/>
              <a:ext cx="43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2" name="Rectangle 127">
              <a:extLst>
                <a:ext uri="{FF2B5EF4-FFF2-40B4-BE49-F238E27FC236}">
                  <a16:creationId xmlns:a16="http://schemas.microsoft.com/office/drawing/2014/main" id="{F859AA8A-F03F-71D4-4260-2FFFBD686E16}"/>
                </a:ext>
              </a:extLst>
            </p:cNvPr>
            <p:cNvSpPr>
              <a:spLocks noChangeArrowheads="1"/>
            </p:cNvSpPr>
            <p:nvPr/>
          </p:nvSpPr>
          <p:spPr bwMode="auto">
            <a:xfrm>
              <a:off x="834" y="3627"/>
              <a:ext cx="8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nvGrpSpPr>
          <p:cNvPr id="113" name="Group 77">
            <a:extLst>
              <a:ext uri="{FF2B5EF4-FFF2-40B4-BE49-F238E27FC236}">
                <a16:creationId xmlns:a16="http://schemas.microsoft.com/office/drawing/2014/main" id="{49D36252-9736-589D-A119-066E00C3E7FC}"/>
              </a:ext>
            </a:extLst>
          </p:cNvPr>
          <p:cNvGrpSpPr>
            <a:grpSpLocks noChangeAspect="1"/>
          </p:cNvGrpSpPr>
          <p:nvPr/>
        </p:nvGrpSpPr>
        <p:grpSpPr bwMode="auto">
          <a:xfrm>
            <a:off x="5490506" y="4754308"/>
            <a:ext cx="549320" cy="547919"/>
            <a:chOff x="4457" y="2972"/>
            <a:chExt cx="784" cy="782"/>
          </a:xfrm>
          <a:solidFill>
            <a:srgbClr val="F6F6FA"/>
          </a:solidFill>
        </p:grpSpPr>
        <p:sp>
          <p:nvSpPr>
            <p:cNvPr id="114" name="Freeform 78">
              <a:extLst>
                <a:ext uri="{FF2B5EF4-FFF2-40B4-BE49-F238E27FC236}">
                  <a16:creationId xmlns:a16="http://schemas.microsoft.com/office/drawing/2014/main" id="{48CC192A-B49D-EAFE-DBA7-8F2E525DC9FD}"/>
                </a:ext>
              </a:extLst>
            </p:cNvPr>
            <p:cNvSpPr>
              <a:spLocks/>
            </p:cNvSpPr>
            <p:nvPr/>
          </p:nvSpPr>
          <p:spPr bwMode="auto">
            <a:xfrm>
              <a:off x="4801" y="3064"/>
              <a:ext cx="96" cy="174"/>
            </a:xfrm>
            <a:custGeom>
              <a:avLst/>
              <a:gdLst>
                <a:gd name="T0" fmla="*/ 28 w 96"/>
                <a:gd name="T1" fmla="*/ 174 h 174"/>
                <a:gd name="T2" fmla="*/ 18 w 96"/>
                <a:gd name="T3" fmla="*/ 172 h 174"/>
                <a:gd name="T4" fmla="*/ 2 w 96"/>
                <a:gd name="T5" fmla="*/ 158 h 174"/>
                <a:gd name="T6" fmla="*/ 0 w 96"/>
                <a:gd name="T7" fmla="*/ 126 h 174"/>
                <a:gd name="T8" fmla="*/ 18 w 96"/>
                <a:gd name="T9" fmla="*/ 146 h 174"/>
                <a:gd name="T10" fmla="*/ 18 w 96"/>
                <a:gd name="T11" fmla="*/ 150 h 174"/>
                <a:gd name="T12" fmla="*/ 24 w 96"/>
                <a:gd name="T13" fmla="*/ 156 h 174"/>
                <a:gd name="T14" fmla="*/ 68 w 96"/>
                <a:gd name="T15" fmla="*/ 156 h 174"/>
                <a:gd name="T16" fmla="*/ 72 w 96"/>
                <a:gd name="T17" fmla="*/ 156 h 174"/>
                <a:gd name="T18" fmla="*/ 76 w 96"/>
                <a:gd name="T19" fmla="*/ 150 h 174"/>
                <a:gd name="T20" fmla="*/ 78 w 96"/>
                <a:gd name="T21" fmla="*/ 106 h 174"/>
                <a:gd name="T22" fmla="*/ 76 w 96"/>
                <a:gd name="T23" fmla="*/ 102 h 174"/>
                <a:gd name="T24" fmla="*/ 72 w 96"/>
                <a:gd name="T25" fmla="*/ 98 h 174"/>
                <a:gd name="T26" fmla="*/ 28 w 96"/>
                <a:gd name="T27" fmla="*/ 96 h 174"/>
                <a:gd name="T28" fmla="*/ 18 w 96"/>
                <a:gd name="T29" fmla="*/ 94 h 174"/>
                <a:gd name="T30" fmla="*/ 2 w 96"/>
                <a:gd name="T31" fmla="*/ 80 h 174"/>
                <a:gd name="T32" fmla="*/ 0 w 96"/>
                <a:gd name="T33" fmla="*/ 28 h 174"/>
                <a:gd name="T34" fmla="*/ 2 w 96"/>
                <a:gd name="T35" fmla="*/ 18 h 174"/>
                <a:gd name="T36" fmla="*/ 18 w 96"/>
                <a:gd name="T37" fmla="*/ 4 h 174"/>
                <a:gd name="T38" fmla="*/ 68 w 96"/>
                <a:gd name="T39" fmla="*/ 0 h 174"/>
                <a:gd name="T40" fmla="*/ 78 w 96"/>
                <a:gd name="T41" fmla="*/ 4 h 174"/>
                <a:gd name="T42" fmla="*/ 94 w 96"/>
                <a:gd name="T43" fmla="*/ 18 h 174"/>
                <a:gd name="T44" fmla="*/ 96 w 96"/>
                <a:gd name="T45" fmla="*/ 48 h 174"/>
                <a:gd name="T46" fmla="*/ 78 w 96"/>
                <a:gd name="T47" fmla="*/ 28 h 174"/>
                <a:gd name="T48" fmla="*/ 76 w 96"/>
                <a:gd name="T49" fmla="*/ 26 h 174"/>
                <a:gd name="T50" fmla="*/ 72 w 96"/>
                <a:gd name="T51" fmla="*/ 20 h 174"/>
                <a:gd name="T52" fmla="*/ 28 w 96"/>
                <a:gd name="T53" fmla="*/ 18 h 174"/>
                <a:gd name="T54" fmla="*/ 24 w 96"/>
                <a:gd name="T55" fmla="*/ 20 h 174"/>
                <a:gd name="T56" fmla="*/ 18 w 96"/>
                <a:gd name="T57" fmla="*/ 26 h 174"/>
                <a:gd name="T58" fmla="*/ 18 w 96"/>
                <a:gd name="T59" fmla="*/ 68 h 174"/>
                <a:gd name="T60" fmla="*/ 18 w 96"/>
                <a:gd name="T61" fmla="*/ 72 h 174"/>
                <a:gd name="T62" fmla="*/ 24 w 96"/>
                <a:gd name="T63" fmla="*/ 78 h 174"/>
                <a:gd name="T64" fmla="*/ 68 w 96"/>
                <a:gd name="T65" fmla="*/ 78 h 174"/>
                <a:gd name="T66" fmla="*/ 78 w 96"/>
                <a:gd name="T67" fmla="*/ 80 h 174"/>
                <a:gd name="T68" fmla="*/ 94 w 96"/>
                <a:gd name="T69" fmla="*/ 96 h 174"/>
                <a:gd name="T70" fmla="*/ 96 w 96"/>
                <a:gd name="T71" fmla="*/ 146 h 174"/>
                <a:gd name="T72" fmla="*/ 94 w 96"/>
                <a:gd name="T73" fmla="*/ 158 h 174"/>
                <a:gd name="T74" fmla="*/ 78 w 96"/>
                <a:gd name="T75" fmla="*/ 172 h 174"/>
                <a:gd name="T76" fmla="*/ 68 w 96"/>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4">
                  <a:moveTo>
                    <a:pt x="68" y="174"/>
                  </a:moveTo>
                  <a:lnTo>
                    <a:pt x="28" y="174"/>
                  </a:lnTo>
                  <a:lnTo>
                    <a:pt x="28" y="174"/>
                  </a:lnTo>
                  <a:lnTo>
                    <a:pt x="18" y="172"/>
                  </a:lnTo>
                  <a:lnTo>
                    <a:pt x="8" y="166"/>
                  </a:lnTo>
                  <a:lnTo>
                    <a:pt x="2" y="158"/>
                  </a:lnTo>
                  <a:lnTo>
                    <a:pt x="0" y="146"/>
                  </a:lnTo>
                  <a:lnTo>
                    <a:pt x="0" y="126"/>
                  </a:lnTo>
                  <a:lnTo>
                    <a:pt x="18" y="126"/>
                  </a:lnTo>
                  <a:lnTo>
                    <a:pt x="18" y="146"/>
                  </a:lnTo>
                  <a:lnTo>
                    <a:pt x="18" y="146"/>
                  </a:lnTo>
                  <a:lnTo>
                    <a:pt x="18" y="150"/>
                  </a:lnTo>
                  <a:lnTo>
                    <a:pt x="20" y="154"/>
                  </a:lnTo>
                  <a:lnTo>
                    <a:pt x="24" y="156"/>
                  </a:lnTo>
                  <a:lnTo>
                    <a:pt x="28" y="156"/>
                  </a:lnTo>
                  <a:lnTo>
                    <a:pt x="68" y="156"/>
                  </a:lnTo>
                  <a:lnTo>
                    <a:pt x="68" y="156"/>
                  </a:lnTo>
                  <a:lnTo>
                    <a:pt x="72" y="156"/>
                  </a:lnTo>
                  <a:lnTo>
                    <a:pt x="74" y="154"/>
                  </a:lnTo>
                  <a:lnTo>
                    <a:pt x="76" y="150"/>
                  </a:lnTo>
                  <a:lnTo>
                    <a:pt x="78" y="146"/>
                  </a:lnTo>
                  <a:lnTo>
                    <a:pt x="78" y="106"/>
                  </a:lnTo>
                  <a:lnTo>
                    <a:pt x="78" y="106"/>
                  </a:lnTo>
                  <a:lnTo>
                    <a:pt x="76" y="102"/>
                  </a:lnTo>
                  <a:lnTo>
                    <a:pt x="74" y="100"/>
                  </a:lnTo>
                  <a:lnTo>
                    <a:pt x="72" y="98"/>
                  </a:lnTo>
                  <a:lnTo>
                    <a:pt x="68" y="96"/>
                  </a:lnTo>
                  <a:lnTo>
                    <a:pt x="28" y="96"/>
                  </a:lnTo>
                  <a:lnTo>
                    <a:pt x="28" y="96"/>
                  </a:lnTo>
                  <a:lnTo>
                    <a:pt x="18" y="94"/>
                  </a:lnTo>
                  <a:lnTo>
                    <a:pt x="8" y="88"/>
                  </a:lnTo>
                  <a:lnTo>
                    <a:pt x="2" y="80"/>
                  </a:lnTo>
                  <a:lnTo>
                    <a:pt x="0" y="68"/>
                  </a:lnTo>
                  <a:lnTo>
                    <a:pt x="0" y="28"/>
                  </a:lnTo>
                  <a:lnTo>
                    <a:pt x="0" y="28"/>
                  </a:lnTo>
                  <a:lnTo>
                    <a:pt x="2" y="18"/>
                  </a:lnTo>
                  <a:lnTo>
                    <a:pt x="8" y="10"/>
                  </a:lnTo>
                  <a:lnTo>
                    <a:pt x="18" y="4"/>
                  </a:lnTo>
                  <a:lnTo>
                    <a:pt x="28" y="0"/>
                  </a:lnTo>
                  <a:lnTo>
                    <a:pt x="68" y="0"/>
                  </a:lnTo>
                  <a:lnTo>
                    <a:pt x="68" y="0"/>
                  </a:lnTo>
                  <a:lnTo>
                    <a:pt x="78" y="4"/>
                  </a:lnTo>
                  <a:lnTo>
                    <a:pt x="88" y="10"/>
                  </a:lnTo>
                  <a:lnTo>
                    <a:pt x="94" y="18"/>
                  </a:lnTo>
                  <a:lnTo>
                    <a:pt x="96" y="28"/>
                  </a:lnTo>
                  <a:lnTo>
                    <a:pt x="96" y="48"/>
                  </a:lnTo>
                  <a:lnTo>
                    <a:pt x="78" y="48"/>
                  </a:lnTo>
                  <a:lnTo>
                    <a:pt x="78" y="28"/>
                  </a:lnTo>
                  <a:lnTo>
                    <a:pt x="78" y="28"/>
                  </a:lnTo>
                  <a:lnTo>
                    <a:pt x="76" y="26"/>
                  </a:lnTo>
                  <a:lnTo>
                    <a:pt x="74" y="22"/>
                  </a:lnTo>
                  <a:lnTo>
                    <a:pt x="72" y="20"/>
                  </a:lnTo>
                  <a:lnTo>
                    <a:pt x="68" y="18"/>
                  </a:lnTo>
                  <a:lnTo>
                    <a:pt x="28" y="18"/>
                  </a:lnTo>
                  <a:lnTo>
                    <a:pt x="28" y="18"/>
                  </a:lnTo>
                  <a:lnTo>
                    <a:pt x="24" y="20"/>
                  </a:lnTo>
                  <a:lnTo>
                    <a:pt x="20" y="22"/>
                  </a:lnTo>
                  <a:lnTo>
                    <a:pt x="18" y="26"/>
                  </a:lnTo>
                  <a:lnTo>
                    <a:pt x="18" y="28"/>
                  </a:lnTo>
                  <a:lnTo>
                    <a:pt x="18" y="68"/>
                  </a:lnTo>
                  <a:lnTo>
                    <a:pt x="18" y="68"/>
                  </a:lnTo>
                  <a:lnTo>
                    <a:pt x="18" y="72"/>
                  </a:lnTo>
                  <a:lnTo>
                    <a:pt x="20" y="76"/>
                  </a:lnTo>
                  <a:lnTo>
                    <a:pt x="24" y="78"/>
                  </a:lnTo>
                  <a:lnTo>
                    <a:pt x="28" y="78"/>
                  </a:lnTo>
                  <a:lnTo>
                    <a:pt x="68" y="78"/>
                  </a:lnTo>
                  <a:lnTo>
                    <a:pt x="68" y="78"/>
                  </a:lnTo>
                  <a:lnTo>
                    <a:pt x="78" y="80"/>
                  </a:lnTo>
                  <a:lnTo>
                    <a:pt x="88" y="86"/>
                  </a:lnTo>
                  <a:lnTo>
                    <a:pt x="94" y="96"/>
                  </a:lnTo>
                  <a:lnTo>
                    <a:pt x="96" y="106"/>
                  </a:lnTo>
                  <a:lnTo>
                    <a:pt x="96" y="146"/>
                  </a:lnTo>
                  <a:lnTo>
                    <a:pt x="96" y="146"/>
                  </a:lnTo>
                  <a:lnTo>
                    <a:pt x="94" y="158"/>
                  </a:lnTo>
                  <a:lnTo>
                    <a:pt x="88" y="166"/>
                  </a:lnTo>
                  <a:lnTo>
                    <a:pt x="78" y="172"/>
                  </a:lnTo>
                  <a:lnTo>
                    <a:pt x="68" y="174"/>
                  </a:lnTo>
                  <a:lnTo>
                    <a:pt x="68"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5" name="Rectangle 79">
              <a:extLst>
                <a:ext uri="{FF2B5EF4-FFF2-40B4-BE49-F238E27FC236}">
                  <a16:creationId xmlns:a16="http://schemas.microsoft.com/office/drawing/2014/main" id="{60200695-CB8C-0D75-DA09-37A5E8531A11}"/>
                </a:ext>
              </a:extLst>
            </p:cNvPr>
            <p:cNvSpPr>
              <a:spLocks noChangeArrowheads="1"/>
            </p:cNvSpPr>
            <p:nvPr/>
          </p:nvSpPr>
          <p:spPr bwMode="auto">
            <a:xfrm>
              <a:off x="4839" y="3052"/>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6" name="Rectangle 80">
              <a:extLst>
                <a:ext uri="{FF2B5EF4-FFF2-40B4-BE49-F238E27FC236}">
                  <a16:creationId xmlns:a16="http://schemas.microsoft.com/office/drawing/2014/main" id="{17BD289C-D35C-C0F5-20FD-28EB267C7EE7}"/>
                </a:ext>
              </a:extLst>
            </p:cNvPr>
            <p:cNvSpPr>
              <a:spLocks noChangeArrowheads="1"/>
            </p:cNvSpPr>
            <p:nvPr/>
          </p:nvSpPr>
          <p:spPr bwMode="auto">
            <a:xfrm>
              <a:off x="4839" y="3230"/>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7" name="Freeform 81">
              <a:extLst>
                <a:ext uri="{FF2B5EF4-FFF2-40B4-BE49-F238E27FC236}">
                  <a16:creationId xmlns:a16="http://schemas.microsoft.com/office/drawing/2014/main" id="{3FEA6FB8-1A36-59CE-3350-8FA3BC55D70D}"/>
                </a:ext>
              </a:extLst>
            </p:cNvPr>
            <p:cNvSpPr>
              <a:spLocks noEditPoints="1"/>
            </p:cNvSpPr>
            <p:nvPr/>
          </p:nvSpPr>
          <p:spPr bwMode="auto">
            <a:xfrm>
              <a:off x="4457" y="3628"/>
              <a:ext cx="784" cy="126"/>
            </a:xfrm>
            <a:custGeom>
              <a:avLst/>
              <a:gdLst>
                <a:gd name="T0" fmla="*/ 784 w 784"/>
                <a:gd name="T1" fmla="*/ 126 h 126"/>
                <a:gd name="T2" fmla="*/ 0 w 784"/>
                <a:gd name="T3" fmla="*/ 126 h 126"/>
                <a:gd name="T4" fmla="*/ 0 w 784"/>
                <a:gd name="T5" fmla="*/ 0 h 126"/>
                <a:gd name="T6" fmla="*/ 784 w 784"/>
                <a:gd name="T7" fmla="*/ 0 h 126"/>
                <a:gd name="T8" fmla="*/ 784 w 784"/>
                <a:gd name="T9" fmla="*/ 126 h 126"/>
                <a:gd name="T10" fmla="*/ 18 w 784"/>
                <a:gd name="T11" fmla="*/ 108 h 126"/>
                <a:gd name="T12" fmla="*/ 766 w 784"/>
                <a:gd name="T13" fmla="*/ 108 h 126"/>
                <a:gd name="T14" fmla="*/ 766 w 784"/>
                <a:gd name="T15" fmla="*/ 18 h 126"/>
                <a:gd name="T16" fmla="*/ 18 w 784"/>
                <a:gd name="T17" fmla="*/ 18 h 126"/>
                <a:gd name="T18" fmla="*/ 18 w 784"/>
                <a:gd name="T1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4" h="126">
                  <a:moveTo>
                    <a:pt x="784" y="126"/>
                  </a:moveTo>
                  <a:lnTo>
                    <a:pt x="0" y="126"/>
                  </a:lnTo>
                  <a:lnTo>
                    <a:pt x="0" y="0"/>
                  </a:lnTo>
                  <a:lnTo>
                    <a:pt x="784" y="0"/>
                  </a:lnTo>
                  <a:lnTo>
                    <a:pt x="784" y="126"/>
                  </a:lnTo>
                  <a:close/>
                  <a:moveTo>
                    <a:pt x="18" y="108"/>
                  </a:moveTo>
                  <a:lnTo>
                    <a:pt x="766" y="108"/>
                  </a:lnTo>
                  <a:lnTo>
                    <a:pt x="766" y="18"/>
                  </a:lnTo>
                  <a:lnTo>
                    <a:pt x="18" y="18"/>
                  </a:lnTo>
                  <a:lnTo>
                    <a:pt x="1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8" name="Freeform 82">
              <a:extLst>
                <a:ext uri="{FF2B5EF4-FFF2-40B4-BE49-F238E27FC236}">
                  <a16:creationId xmlns:a16="http://schemas.microsoft.com/office/drawing/2014/main" id="{6071CFB8-98CF-B7A9-7C6C-A438FCABAB40}"/>
                </a:ext>
              </a:extLst>
            </p:cNvPr>
            <p:cNvSpPr>
              <a:spLocks noEditPoints="1"/>
            </p:cNvSpPr>
            <p:nvPr/>
          </p:nvSpPr>
          <p:spPr bwMode="auto">
            <a:xfrm>
              <a:off x="4503" y="2972"/>
              <a:ext cx="692" cy="324"/>
            </a:xfrm>
            <a:custGeom>
              <a:avLst/>
              <a:gdLst>
                <a:gd name="T0" fmla="*/ 692 w 692"/>
                <a:gd name="T1" fmla="*/ 324 h 324"/>
                <a:gd name="T2" fmla="*/ 0 w 692"/>
                <a:gd name="T3" fmla="*/ 324 h 324"/>
                <a:gd name="T4" fmla="*/ 0 w 692"/>
                <a:gd name="T5" fmla="*/ 202 h 324"/>
                <a:gd name="T6" fmla="*/ 346 w 692"/>
                <a:gd name="T7" fmla="*/ 0 h 324"/>
                <a:gd name="T8" fmla="*/ 692 w 692"/>
                <a:gd name="T9" fmla="*/ 202 h 324"/>
                <a:gd name="T10" fmla="*/ 692 w 692"/>
                <a:gd name="T11" fmla="*/ 324 h 324"/>
                <a:gd name="T12" fmla="*/ 18 w 692"/>
                <a:gd name="T13" fmla="*/ 306 h 324"/>
                <a:gd name="T14" fmla="*/ 674 w 692"/>
                <a:gd name="T15" fmla="*/ 306 h 324"/>
                <a:gd name="T16" fmla="*/ 674 w 692"/>
                <a:gd name="T17" fmla="*/ 212 h 324"/>
                <a:gd name="T18" fmla="*/ 346 w 692"/>
                <a:gd name="T19" fmla="*/ 20 h 324"/>
                <a:gd name="T20" fmla="*/ 18 w 692"/>
                <a:gd name="T21" fmla="*/ 212 h 324"/>
                <a:gd name="T22" fmla="*/ 18 w 692"/>
                <a:gd name="T23" fmla="*/ 30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2" h="324">
                  <a:moveTo>
                    <a:pt x="692" y="324"/>
                  </a:moveTo>
                  <a:lnTo>
                    <a:pt x="0" y="324"/>
                  </a:lnTo>
                  <a:lnTo>
                    <a:pt x="0" y="202"/>
                  </a:lnTo>
                  <a:lnTo>
                    <a:pt x="346" y="0"/>
                  </a:lnTo>
                  <a:lnTo>
                    <a:pt x="692" y="202"/>
                  </a:lnTo>
                  <a:lnTo>
                    <a:pt x="692" y="324"/>
                  </a:lnTo>
                  <a:close/>
                  <a:moveTo>
                    <a:pt x="18" y="306"/>
                  </a:moveTo>
                  <a:lnTo>
                    <a:pt x="674" y="306"/>
                  </a:lnTo>
                  <a:lnTo>
                    <a:pt x="674" y="212"/>
                  </a:lnTo>
                  <a:lnTo>
                    <a:pt x="346" y="20"/>
                  </a:lnTo>
                  <a:lnTo>
                    <a:pt x="18" y="212"/>
                  </a:lnTo>
                  <a:lnTo>
                    <a:pt x="18" y="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19" name="Freeform 83">
              <a:extLst>
                <a:ext uri="{FF2B5EF4-FFF2-40B4-BE49-F238E27FC236}">
                  <a16:creationId xmlns:a16="http://schemas.microsoft.com/office/drawing/2014/main" id="{E946CB8D-AA42-DE25-919A-1AAB6A1B41F0}"/>
                </a:ext>
              </a:extLst>
            </p:cNvPr>
            <p:cNvSpPr>
              <a:spLocks noEditPoints="1"/>
            </p:cNvSpPr>
            <p:nvPr/>
          </p:nvSpPr>
          <p:spPr bwMode="auto">
            <a:xfrm>
              <a:off x="4547" y="3584"/>
              <a:ext cx="164" cy="62"/>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0" name="Freeform 84">
              <a:extLst>
                <a:ext uri="{FF2B5EF4-FFF2-40B4-BE49-F238E27FC236}">
                  <a16:creationId xmlns:a16="http://schemas.microsoft.com/office/drawing/2014/main" id="{404B177F-0E1E-5714-ED8B-F591765D79BA}"/>
                </a:ext>
              </a:extLst>
            </p:cNvPr>
            <p:cNvSpPr>
              <a:spLocks noEditPoints="1"/>
            </p:cNvSpPr>
            <p:nvPr/>
          </p:nvSpPr>
          <p:spPr bwMode="auto">
            <a:xfrm>
              <a:off x="4987" y="3584"/>
              <a:ext cx="164" cy="62"/>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1" name="Freeform 85">
              <a:extLst>
                <a:ext uri="{FF2B5EF4-FFF2-40B4-BE49-F238E27FC236}">
                  <a16:creationId xmlns:a16="http://schemas.microsoft.com/office/drawing/2014/main" id="{5754ECEA-FF7B-67C7-E8E8-7E950622F734}"/>
                </a:ext>
              </a:extLst>
            </p:cNvPr>
            <p:cNvSpPr>
              <a:spLocks noEditPoints="1"/>
            </p:cNvSpPr>
            <p:nvPr/>
          </p:nvSpPr>
          <p:spPr bwMode="auto">
            <a:xfrm>
              <a:off x="4547" y="3278"/>
              <a:ext cx="164" cy="64"/>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2" name="Freeform 86">
              <a:extLst>
                <a:ext uri="{FF2B5EF4-FFF2-40B4-BE49-F238E27FC236}">
                  <a16:creationId xmlns:a16="http://schemas.microsoft.com/office/drawing/2014/main" id="{B5509071-7175-6583-9CE0-94763B043001}"/>
                </a:ext>
              </a:extLst>
            </p:cNvPr>
            <p:cNvSpPr>
              <a:spLocks noEditPoints="1"/>
            </p:cNvSpPr>
            <p:nvPr/>
          </p:nvSpPr>
          <p:spPr bwMode="auto">
            <a:xfrm>
              <a:off x="4987" y="3278"/>
              <a:ext cx="164" cy="64"/>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3" name="Freeform 87">
              <a:extLst>
                <a:ext uri="{FF2B5EF4-FFF2-40B4-BE49-F238E27FC236}">
                  <a16:creationId xmlns:a16="http://schemas.microsoft.com/office/drawing/2014/main" id="{579390DC-3A47-0CBD-E33B-DDC6907DD81F}"/>
                </a:ext>
              </a:extLst>
            </p:cNvPr>
            <p:cNvSpPr>
              <a:spLocks noEditPoints="1"/>
            </p:cNvSpPr>
            <p:nvPr/>
          </p:nvSpPr>
          <p:spPr bwMode="auto">
            <a:xfrm>
              <a:off x="4573" y="3324"/>
              <a:ext cx="112" cy="278"/>
            </a:xfrm>
            <a:custGeom>
              <a:avLst/>
              <a:gdLst>
                <a:gd name="T0" fmla="*/ 112 w 112"/>
                <a:gd name="T1" fmla="*/ 278 h 278"/>
                <a:gd name="T2" fmla="*/ 0 w 112"/>
                <a:gd name="T3" fmla="*/ 278 h 278"/>
                <a:gd name="T4" fmla="*/ 0 w 112"/>
                <a:gd name="T5" fmla="*/ 0 h 278"/>
                <a:gd name="T6" fmla="*/ 112 w 112"/>
                <a:gd name="T7" fmla="*/ 0 h 278"/>
                <a:gd name="T8" fmla="*/ 112 w 112"/>
                <a:gd name="T9" fmla="*/ 278 h 278"/>
                <a:gd name="T10" fmla="*/ 18 w 112"/>
                <a:gd name="T11" fmla="*/ 260 h 278"/>
                <a:gd name="T12" fmla="*/ 94 w 112"/>
                <a:gd name="T13" fmla="*/ 260 h 278"/>
                <a:gd name="T14" fmla="*/ 94 w 112"/>
                <a:gd name="T15" fmla="*/ 18 h 278"/>
                <a:gd name="T16" fmla="*/ 18 w 112"/>
                <a:gd name="T17" fmla="*/ 18 h 278"/>
                <a:gd name="T18" fmla="*/ 18 w 112"/>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278">
                  <a:moveTo>
                    <a:pt x="112" y="278"/>
                  </a:moveTo>
                  <a:lnTo>
                    <a:pt x="0" y="278"/>
                  </a:lnTo>
                  <a:lnTo>
                    <a:pt x="0" y="0"/>
                  </a:lnTo>
                  <a:lnTo>
                    <a:pt x="112" y="0"/>
                  </a:lnTo>
                  <a:lnTo>
                    <a:pt x="112" y="278"/>
                  </a:lnTo>
                  <a:close/>
                  <a:moveTo>
                    <a:pt x="18" y="260"/>
                  </a:moveTo>
                  <a:lnTo>
                    <a:pt x="94" y="260"/>
                  </a:lnTo>
                  <a:lnTo>
                    <a:pt x="94" y="18"/>
                  </a:lnTo>
                  <a:lnTo>
                    <a:pt x="18" y="18"/>
                  </a:lnTo>
                  <a:lnTo>
                    <a:pt x="18"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4" name="Freeform 88">
              <a:extLst>
                <a:ext uri="{FF2B5EF4-FFF2-40B4-BE49-F238E27FC236}">
                  <a16:creationId xmlns:a16="http://schemas.microsoft.com/office/drawing/2014/main" id="{8357B7D8-6D97-F43A-BF43-A51D72BBDA08}"/>
                </a:ext>
              </a:extLst>
            </p:cNvPr>
            <p:cNvSpPr>
              <a:spLocks noEditPoints="1"/>
            </p:cNvSpPr>
            <p:nvPr/>
          </p:nvSpPr>
          <p:spPr bwMode="auto">
            <a:xfrm>
              <a:off x="5011" y="3324"/>
              <a:ext cx="114" cy="278"/>
            </a:xfrm>
            <a:custGeom>
              <a:avLst/>
              <a:gdLst>
                <a:gd name="T0" fmla="*/ 114 w 114"/>
                <a:gd name="T1" fmla="*/ 278 h 278"/>
                <a:gd name="T2" fmla="*/ 0 w 114"/>
                <a:gd name="T3" fmla="*/ 278 h 278"/>
                <a:gd name="T4" fmla="*/ 0 w 114"/>
                <a:gd name="T5" fmla="*/ 0 h 278"/>
                <a:gd name="T6" fmla="*/ 114 w 114"/>
                <a:gd name="T7" fmla="*/ 0 h 278"/>
                <a:gd name="T8" fmla="*/ 114 w 114"/>
                <a:gd name="T9" fmla="*/ 278 h 278"/>
                <a:gd name="T10" fmla="*/ 18 w 114"/>
                <a:gd name="T11" fmla="*/ 260 h 278"/>
                <a:gd name="T12" fmla="*/ 96 w 114"/>
                <a:gd name="T13" fmla="*/ 260 h 278"/>
                <a:gd name="T14" fmla="*/ 96 w 114"/>
                <a:gd name="T15" fmla="*/ 18 h 278"/>
                <a:gd name="T16" fmla="*/ 18 w 114"/>
                <a:gd name="T17" fmla="*/ 18 h 278"/>
                <a:gd name="T18" fmla="*/ 18 w 114"/>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78">
                  <a:moveTo>
                    <a:pt x="114" y="278"/>
                  </a:moveTo>
                  <a:lnTo>
                    <a:pt x="0" y="278"/>
                  </a:lnTo>
                  <a:lnTo>
                    <a:pt x="0" y="0"/>
                  </a:lnTo>
                  <a:lnTo>
                    <a:pt x="114" y="0"/>
                  </a:lnTo>
                  <a:lnTo>
                    <a:pt x="114" y="278"/>
                  </a:lnTo>
                  <a:close/>
                  <a:moveTo>
                    <a:pt x="18" y="260"/>
                  </a:moveTo>
                  <a:lnTo>
                    <a:pt x="96" y="260"/>
                  </a:lnTo>
                  <a:lnTo>
                    <a:pt x="96" y="18"/>
                  </a:lnTo>
                  <a:lnTo>
                    <a:pt x="18" y="18"/>
                  </a:lnTo>
                  <a:lnTo>
                    <a:pt x="18"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5" name="Freeform 89">
              <a:extLst>
                <a:ext uri="{FF2B5EF4-FFF2-40B4-BE49-F238E27FC236}">
                  <a16:creationId xmlns:a16="http://schemas.microsoft.com/office/drawing/2014/main" id="{2F35CDF0-C21C-990A-07F9-EBDAB97AA389}"/>
                </a:ext>
              </a:extLst>
            </p:cNvPr>
            <p:cNvSpPr>
              <a:spLocks noEditPoints="1"/>
            </p:cNvSpPr>
            <p:nvPr/>
          </p:nvSpPr>
          <p:spPr bwMode="auto">
            <a:xfrm>
              <a:off x="4745" y="3404"/>
              <a:ext cx="208" cy="242"/>
            </a:xfrm>
            <a:custGeom>
              <a:avLst/>
              <a:gdLst>
                <a:gd name="T0" fmla="*/ 208 w 208"/>
                <a:gd name="T1" fmla="*/ 242 h 242"/>
                <a:gd name="T2" fmla="*/ 0 w 208"/>
                <a:gd name="T3" fmla="*/ 242 h 242"/>
                <a:gd name="T4" fmla="*/ 0 w 208"/>
                <a:gd name="T5" fmla="*/ 0 h 242"/>
                <a:gd name="T6" fmla="*/ 208 w 208"/>
                <a:gd name="T7" fmla="*/ 0 h 242"/>
                <a:gd name="T8" fmla="*/ 208 w 208"/>
                <a:gd name="T9" fmla="*/ 242 h 242"/>
                <a:gd name="T10" fmla="*/ 18 w 208"/>
                <a:gd name="T11" fmla="*/ 224 h 242"/>
                <a:gd name="T12" fmla="*/ 190 w 208"/>
                <a:gd name="T13" fmla="*/ 224 h 242"/>
                <a:gd name="T14" fmla="*/ 190 w 208"/>
                <a:gd name="T15" fmla="*/ 18 h 242"/>
                <a:gd name="T16" fmla="*/ 18 w 208"/>
                <a:gd name="T17" fmla="*/ 18 h 242"/>
                <a:gd name="T18" fmla="*/ 18 w 208"/>
                <a:gd name="T19" fmla="*/ 22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42">
                  <a:moveTo>
                    <a:pt x="208" y="242"/>
                  </a:moveTo>
                  <a:lnTo>
                    <a:pt x="0" y="242"/>
                  </a:lnTo>
                  <a:lnTo>
                    <a:pt x="0" y="0"/>
                  </a:lnTo>
                  <a:lnTo>
                    <a:pt x="208" y="0"/>
                  </a:lnTo>
                  <a:lnTo>
                    <a:pt x="208" y="242"/>
                  </a:lnTo>
                  <a:close/>
                  <a:moveTo>
                    <a:pt x="18" y="224"/>
                  </a:moveTo>
                  <a:lnTo>
                    <a:pt x="190" y="224"/>
                  </a:lnTo>
                  <a:lnTo>
                    <a:pt x="190" y="18"/>
                  </a:lnTo>
                  <a:lnTo>
                    <a:pt x="18" y="18"/>
                  </a:lnTo>
                  <a:lnTo>
                    <a:pt x="1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6" name="Rectangle 90">
              <a:extLst>
                <a:ext uri="{FF2B5EF4-FFF2-40B4-BE49-F238E27FC236}">
                  <a16:creationId xmlns:a16="http://schemas.microsoft.com/office/drawing/2014/main" id="{393A6258-1EB5-5856-F0BE-BF370074A8C9}"/>
                </a:ext>
              </a:extLst>
            </p:cNvPr>
            <p:cNvSpPr>
              <a:spLocks noChangeArrowheads="1"/>
            </p:cNvSpPr>
            <p:nvPr/>
          </p:nvSpPr>
          <p:spPr bwMode="auto">
            <a:xfrm>
              <a:off x="4689" y="3150"/>
              <a:ext cx="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7" name="Rectangle 91">
              <a:extLst>
                <a:ext uri="{FF2B5EF4-FFF2-40B4-BE49-F238E27FC236}">
                  <a16:creationId xmlns:a16="http://schemas.microsoft.com/office/drawing/2014/main" id="{2FF0B8AB-CC8F-50C8-8EEC-949738532872}"/>
                </a:ext>
              </a:extLst>
            </p:cNvPr>
            <p:cNvSpPr>
              <a:spLocks noChangeArrowheads="1"/>
            </p:cNvSpPr>
            <p:nvPr/>
          </p:nvSpPr>
          <p:spPr bwMode="auto">
            <a:xfrm>
              <a:off x="4941" y="3150"/>
              <a:ext cx="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8" name="Rectangle 92">
              <a:extLst>
                <a:ext uri="{FF2B5EF4-FFF2-40B4-BE49-F238E27FC236}">
                  <a16:creationId xmlns:a16="http://schemas.microsoft.com/office/drawing/2014/main" id="{316661ED-3F79-7997-19C4-31BE47A878DB}"/>
                </a:ext>
              </a:extLst>
            </p:cNvPr>
            <p:cNvSpPr>
              <a:spLocks noChangeArrowheads="1"/>
            </p:cNvSpPr>
            <p:nvPr/>
          </p:nvSpPr>
          <p:spPr bwMode="auto">
            <a:xfrm>
              <a:off x="4621" y="3366"/>
              <a:ext cx="18" cy="1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29" name="Rectangle 93">
              <a:extLst>
                <a:ext uri="{FF2B5EF4-FFF2-40B4-BE49-F238E27FC236}">
                  <a16:creationId xmlns:a16="http://schemas.microsoft.com/office/drawing/2014/main" id="{A147AEE6-7B55-A1D6-EBC3-92F48E08D491}"/>
                </a:ext>
              </a:extLst>
            </p:cNvPr>
            <p:cNvSpPr>
              <a:spLocks noChangeArrowheads="1"/>
            </p:cNvSpPr>
            <p:nvPr/>
          </p:nvSpPr>
          <p:spPr bwMode="auto">
            <a:xfrm>
              <a:off x="5059" y="3366"/>
              <a:ext cx="18" cy="1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0" name="Rectangle 94">
              <a:extLst>
                <a:ext uri="{FF2B5EF4-FFF2-40B4-BE49-F238E27FC236}">
                  <a16:creationId xmlns:a16="http://schemas.microsoft.com/office/drawing/2014/main" id="{99384D48-58C7-197C-A44A-F15E956EEB3B}"/>
                </a:ext>
              </a:extLst>
            </p:cNvPr>
            <p:cNvSpPr>
              <a:spLocks noChangeArrowheads="1"/>
            </p:cNvSpPr>
            <p:nvPr/>
          </p:nvSpPr>
          <p:spPr bwMode="auto">
            <a:xfrm>
              <a:off x="4525" y="3682"/>
              <a:ext cx="64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nvGrpSpPr>
          <p:cNvPr id="131" name="Group 4">
            <a:extLst>
              <a:ext uri="{FF2B5EF4-FFF2-40B4-BE49-F238E27FC236}">
                <a16:creationId xmlns:a16="http://schemas.microsoft.com/office/drawing/2014/main" id="{F9386BDD-FCF9-E6D6-8B3E-13617799980C}"/>
              </a:ext>
            </a:extLst>
          </p:cNvPr>
          <p:cNvGrpSpPr>
            <a:grpSpLocks noChangeAspect="1"/>
          </p:cNvGrpSpPr>
          <p:nvPr/>
        </p:nvGrpSpPr>
        <p:grpSpPr bwMode="auto">
          <a:xfrm>
            <a:off x="5328156" y="2528173"/>
            <a:ext cx="491618" cy="477424"/>
            <a:chOff x="1868" y="1900"/>
            <a:chExt cx="762" cy="740"/>
          </a:xfrm>
          <a:solidFill>
            <a:srgbClr val="F6F6FA"/>
          </a:solidFill>
        </p:grpSpPr>
        <p:sp>
          <p:nvSpPr>
            <p:cNvPr id="132" name="Freeform 5">
              <a:extLst>
                <a:ext uri="{FF2B5EF4-FFF2-40B4-BE49-F238E27FC236}">
                  <a16:creationId xmlns:a16="http://schemas.microsoft.com/office/drawing/2014/main" id="{2F68AD73-720B-370B-EA9E-584882D3E91F}"/>
                </a:ext>
              </a:extLst>
            </p:cNvPr>
            <p:cNvSpPr>
              <a:spLocks/>
            </p:cNvSpPr>
            <p:nvPr/>
          </p:nvSpPr>
          <p:spPr bwMode="auto">
            <a:xfrm>
              <a:off x="2208" y="2244"/>
              <a:ext cx="82" cy="150"/>
            </a:xfrm>
            <a:custGeom>
              <a:avLst/>
              <a:gdLst>
                <a:gd name="T0" fmla="*/ 24 w 82"/>
                <a:gd name="T1" fmla="*/ 150 h 150"/>
                <a:gd name="T2" fmla="*/ 14 w 82"/>
                <a:gd name="T3" fmla="*/ 148 h 150"/>
                <a:gd name="T4" fmla="*/ 2 w 82"/>
                <a:gd name="T5" fmla="*/ 134 h 150"/>
                <a:gd name="T6" fmla="*/ 0 w 82"/>
                <a:gd name="T7" fmla="*/ 108 h 150"/>
                <a:gd name="T8" fmla="*/ 18 w 82"/>
                <a:gd name="T9" fmla="*/ 124 h 150"/>
                <a:gd name="T10" fmla="*/ 20 w 82"/>
                <a:gd name="T11" fmla="*/ 130 h 150"/>
                <a:gd name="T12" fmla="*/ 58 w 82"/>
                <a:gd name="T13" fmla="*/ 132 h 150"/>
                <a:gd name="T14" fmla="*/ 62 w 82"/>
                <a:gd name="T15" fmla="*/ 130 h 150"/>
                <a:gd name="T16" fmla="*/ 64 w 82"/>
                <a:gd name="T17" fmla="*/ 92 h 150"/>
                <a:gd name="T18" fmla="*/ 62 w 82"/>
                <a:gd name="T19" fmla="*/ 86 h 150"/>
                <a:gd name="T20" fmla="*/ 24 w 82"/>
                <a:gd name="T21" fmla="*/ 84 h 150"/>
                <a:gd name="T22" fmla="*/ 14 w 82"/>
                <a:gd name="T23" fmla="*/ 82 h 150"/>
                <a:gd name="T24" fmla="*/ 2 w 82"/>
                <a:gd name="T25" fmla="*/ 68 h 150"/>
                <a:gd name="T26" fmla="*/ 0 w 82"/>
                <a:gd name="T27" fmla="*/ 26 h 150"/>
                <a:gd name="T28" fmla="*/ 2 w 82"/>
                <a:gd name="T29" fmla="*/ 16 h 150"/>
                <a:gd name="T30" fmla="*/ 14 w 82"/>
                <a:gd name="T31" fmla="*/ 2 h 150"/>
                <a:gd name="T32" fmla="*/ 58 w 82"/>
                <a:gd name="T33" fmla="*/ 0 h 150"/>
                <a:gd name="T34" fmla="*/ 68 w 82"/>
                <a:gd name="T35" fmla="*/ 2 h 150"/>
                <a:gd name="T36" fmla="*/ 82 w 82"/>
                <a:gd name="T37" fmla="*/ 16 h 150"/>
                <a:gd name="T38" fmla="*/ 82 w 82"/>
                <a:gd name="T39" fmla="*/ 42 h 150"/>
                <a:gd name="T40" fmla="*/ 64 w 82"/>
                <a:gd name="T41" fmla="*/ 26 h 150"/>
                <a:gd name="T42" fmla="*/ 62 w 82"/>
                <a:gd name="T43" fmla="*/ 20 h 150"/>
                <a:gd name="T44" fmla="*/ 24 w 82"/>
                <a:gd name="T45" fmla="*/ 18 h 150"/>
                <a:gd name="T46" fmla="*/ 20 w 82"/>
                <a:gd name="T47" fmla="*/ 20 h 150"/>
                <a:gd name="T48" fmla="*/ 18 w 82"/>
                <a:gd name="T49" fmla="*/ 60 h 150"/>
                <a:gd name="T50" fmla="*/ 20 w 82"/>
                <a:gd name="T51" fmla="*/ 64 h 150"/>
                <a:gd name="T52" fmla="*/ 58 w 82"/>
                <a:gd name="T53" fmla="*/ 66 h 150"/>
                <a:gd name="T54" fmla="*/ 68 w 82"/>
                <a:gd name="T55" fmla="*/ 68 h 150"/>
                <a:gd name="T56" fmla="*/ 82 w 82"/>
                <a:gd name="T57" fmla="*/ 82 h 150"/>
                <a:gd name="T58" fmla="*/ 82 w 82"/>
                <a:gd name="T59" fmla="*/ 124 h 150"/>
                <a:gd name="T60" fmla="*/ 82 w 82"/>
                <a:gd name="T61" fmla="*/ 134 h 150"/>
                <a:gd name="T62" fmla="*/ 68 w 82"/>
                <a:gd name="T63" fmla="*/ 148 h 150"/>
                <a:gd name="T64" fmla="*/ 58 w 82"/>
                <a:gd name="T6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50">
                  <a:moveTo>
                    <a:pt x="58" y="150"/>
                  </a:moveTo>
                  <a:lnTo>
                    <a:pt x="24" y="150"/>
                  </a:lnTo>
                  <a:lnTo>
                    <a:pt x="24" y="150"/>
                  </a:lnTo>
                  <a:lnTo>
                    <a:pt x="14" y="148"/>
                  </a:lnTo>
                  <a:lnTo>
                    <a:pt x="8" y="142"/>
                  </a:lnTo>
                  <a:lnTo>
                    <a:pt x="2" y="134"/>
                  </a:lnTo>
                  <a:lnTo>
                    <a:pt x="0" y="124"/>
                  </a:lnTo>
                  <a:lnTo>
                    <a:pt x="0" y="108"/>
                  </a:lnTo>
                  <a:lnTo>
                    <a:pt x="18" y="108"/>
                  </a:lnTo>
                  <a:lnTo>
                    <a:pt x="18" y="124"/>
                  </a:lnTo>
                  <a:lnTo>
                    <a:pt x="18" y="124"/>
                  </a:lnTo>
                  <a:lnTo>
                    <a:pt x="20" y="130"/>
                  </a:lnTo>
                  <a:lnTo>
                    <a:pt x="24" y="132"/>
                  </a:lnTo>
                  <a:lnTo>
                    <a:pt x="58" y="132"/>
                  </a:lnTo>
                  <a:lnTo>
                    <a:pt x="58" y="132"/>
                  </a:lnTo>
                  <a:lnTo>
                    <a:pt x="62" y="130"/>
                  </a:lnTo>
                  <a:lnTo>
                    <a:pt x="64" y="124"/>
                  </a:lnTo>
                  <a:lnTo>
                    <a:pt x="64" y="92"/>
                  </a:lnTo>
                  <a:lnTo>
                    <a:pt x="64" y="92"/>
                  </a:lnTo>
                  <a:lnTo>
                    <a:pt x="62" y="86"/>
                  </a:lnTo>
                  <a:lnTo>
                    <a:pt x="58" y="84"/>
                  </a:lnTo>
                  <a:lnTo>
                    <a:pt x="24" y="84"/>
                  </a:lnTo>
                  <a:lnTo>
                    <a:pt x="24" y="84"/>
                  </a:lnTo>
                  <a:lnTo>
                    <a:pt x="14" y="82"/>
                  </a:lnTo>
                  <a:lnTo>
                    <a:pt x="8" y="76"/>
                  </a:lnTo>
                  <a:lnTo>
                    <a:pt x="2" y="68"/>
                  </a:lnTo>
                  <a:lnTo>
                    <a:pt x="0" y="60"/>
                  </a:lnTo>
                  <a:lnTo>
                    <a:pt x="0" y="26"/>
                  </a:lnTo>
                  <a:lnTo>
                    <a:pt x="0" y="26"/>
                  </a:lnTo>
                  <a:lnTo>
                    <a:pt x="2" y="16"/>
                  </a:lnTo>
                  <a:lnTo>
                    <a:pt x="8" y="8"/>
                  </a:lnTo>
                  <a:lnTo>
                    <a:pt x="14" y="2"/>
                  </a:lnTo>
                  <a:lnTo>
                    <a:pt x="24" y="0"/>
                  </a:lnTo>
                  <a:lnTo>
                    <a:pt x="58" y="0"/>
                  </a:lnTo>
                  <a:lnTo>
                    <a:pt x="58" y="0"/>
                  </a:lnTo>
                  <a:lnTo>
                    <a:pt x="68" y="2"/>
                  </a:lnTo>
                  <a:lnTo>
                    <a:pt x="76" y="8"/>
                  </a:lnTo>
                  <a:lnTo>
                    <a:pt x="82" y="16"/>
                  </a:lnTo>
                  <a:lnTo>
                    <a:pt x="82" y="26"/>
                  </a:lnTo>
                  <a:lnTo>
                    <a:pt x="82" y="42"/>
                  </a:lnTo>
                  <a:lnTo>
                    <a:pt x="64" y="42"/>
                  </a:lnTo>
                  <a:lnTo>
                    <a:pt x="64" y="26"/>
                  </a:lnTo>
                  <a:lnTo>
                    <a:pt x="64" y="26"/>
                  </a:lnTo>
                  <a:lnTo>
                    <a:pt x="62" y="20"/>
                  </a:lnTo>
                  <a:lnTo>
                    <a:pt x="58" y="18"/>
                  </a:lnTo>
                  <a:lnTo>
                    <a:pt x="24" y="18"/>
                  </a:lnTo>
                  <a:lnTo>
                    <a:pt x="24" y="18"/>
                  </a:lnTo>
                  <a:lnTo>
                    <a:pt x="20" y="20"/>
                  </a:lnTo>
                  <a:lnTo>
                    <a:pt x="18" y="26"/>
                  </a:lnTo>
                  <a:lnTo>
                    <a:pt x="18" y="60"/>
                  </a:lnTo>
                  <a:lnTo>
                    <a:pt x="18" y="60"/>
                  </a:lnTo>
                  <a:lnTo>
                    <a:pt x="20" y="64"/>
                  </a:lnTo>
                  <a:lnTo>
                    <a:pt x="24" y="66"/>
                  </a:lnTo>
                  <a:lnTo>
                    <a:pt x="58" y="66"/>
                  </a:lnTo>
                  <a:lnTo>
                    <a:pt x="58" y="66"/>
                  </a:lnTo>
                  <a:lnTo>
                    <a:pt x="68" y="68"/>
                  </a:lnTo>
                  <a:lnTo>
                    <a:pt x="76" y="74"/>
                  </a:lnTo>
                  <a:lnTo>
                    <a:pt x="82" y="82"/>
                  </a:lnTo>
                  <a:lnTo>
                    <a:pt x="82" y="92"/>
                  </a:lnTo>
                  <a:lnTo>
                    <a:pt x="82" y="124"/>
                  </a:lnTo>
                  <a:lnTo>
                    <a:pt x="82" y="124"/>
                  </a:lnTo>
                  <a:lnTo>
                    <a:pt x="82" y="134"/>
                  </a:lnTo>
                  <a:lnTo>
                    <a:pt x="76" y="142"/>
                  </a:lnTo>
                  <a:lnTo>
                    <a:pt x="68" y="148"/>
                  </a:lnTo>
                  <a:lnTo>
                    <a:pt x="58" y="150"/>
                  </a:lnTo>
                  <a:lnTo>
                    <a:pt x="5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3" name="Rectangle 6">
              <a:extLst>
                <a:ext uri="{FF2B5EF4-FFF2-40B4-BE49-F238E27FC236}">
                  <a16:creationId xmlns:a16="http://schemas.microsoft.com/office/drawing/2014/main" id="{2DD80ACD-CF32-741B-48C3-AA5EE1FEB717}"/>
                </a:ext>
              </a:extLst>
            </p:cNvPr>
            <p:cNvSpPr>
              <a:spLocks noChangeArrowheads="1"/>
            </p:cNvSpPr>
            <p:nvPr/>
          </p:nvSpPr>
          <p:spPr bwMode="auto">
            <a:xfrm>
              <a:off x="2240" y="2236"/>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4" name="Rectangle 7">
              <a:extLst>
                <a:ext uri="{FF2B5EF4-FFF2-40B4-BE49-F238E27FC236}">
                  <a16:creationId xmlns:a16="http://schemas.microsoft.com/office/drawing/2014/main" id="{68E94FB9-17FF-54C1-04D1-B5FA52316230}"/>
                </a:ext>
              </a:extLst>
            </p:cNvPr>
            <p:cNvSpPr>
              <a:spLocks noChangeArrowheads="1"/>
            </p:cNvSpPr>
            <p:nvPr/>
          </p:nvSpPr>
          <p:spPr bwMode="auto">
            <a:xfrm>
              <a:off x="2240" y="23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5" name="Freeform 8">
              <a:extLst>
                <a:ext uri="{FF2B5EF4-FFF2-40B4-BE49-F238E27FC236}">
                  <a16:creationId xmlns:a16="http://schemas.microsoft.com/office/drawing/2014/main" id="{1A9BF31A-A162-9DE1-D17B-9EEED73A8877}"/>
                </a:ext>
              </a:extLst>
            </p:cNvPr>
            <p:cNvSpPr>
              <a:spLocks noEditPoints="1"/>
            </p:cNvSpPr>
            <p:nvPr/>
          </p:nvSpPr>
          <p:spPr bwMode="auto">
            <a:xfrm>
              <a:off x="1868" y="2126"/>
              <a:ext cx="762" cy="386"/>
            </a:xfrm>
            <a:custGeom>
              <a:avLst/>
              <a:gdLst>
                <a:gd name="T0" fmla="*/ 762 w 762"/>
                <a:gd name="T1" fmla="*/ 386 h 386"/>
                <a:gd name="T2" fmla="*/ 0 w 762"/>
                <a:gd name="T3" fmla="*/ 386 h 386"/>
                <a:gd name="T4" fmla="*/ 0 w 762"/>
                <a:gd name="T5" fmla="*/ 0 h 386"/>
                <a:gd name="T6" fmla="*/ 762 w 762"/>
                <a:gd name="T7" fmla="*/ 0 h 386"/>
                <a:gd name="T8" fmla="*/ 762 w 762"/>
                <a:gd name="T9" fmla="*/ 386 h 386"/>
                <a:gd name="T10" fmla="*/ 18 w 762"/>
                <a:gd name="T11" fmla="*/ 368 h 386"/>
                <a:gd name="T12" fmla="*/ 744 w 762"/>
                <a:gd name="T13" fmla="*/ 368 h 386"/>
                <a:gd name="T14" fmla="*/ 744 w 762"/>
                <a:gd name="T15" fmla="*/ 18 h 386"/>
                <a:gd name="T16" fmla="*/ 18 w 762"/>
                <a:gd name="T17" fmla="*/ 18 h 386"/>
                <a:gd name="T18" fmla="*/ 18 w 762"/>
                <a:gd name="T19" fmla="*/ 36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2" h="386">
                  <a:moveTo>
                    <a:pt x="762" y="386"/>
                  </a:moveTo>
                  <a:lnTo>
                    <a:pt x="0" y="386"/>
                  </a:lnTo>
                  <a:lnTo>
                    <a:pt x="0" y="0"/>
                  </a:lnTo>
                  <a:lnTo>
                    <a:pt x="762" y="0"/>
                  </a:lnTo>
                  <a:lnTo>
                    <a:pt x="762" y="386"/>
                  </a:lnTo>
                  <a:close/>
                  <a:moveTo>
                    <a:pt x="18" y="368"/>
                  </a:moveTo>
                  <a:lnTo>
                    <a:pt x="744" y="368"/>
                  </a:lnTo>
                  <a:lnTo>
                    <a:pt x="744" y="18"/>
                  </a:lnTo>
                  <a:lnTo>
                    <a:pt x="18" y="18"/>
                  </a:lnTo>
                  <a:lnTo>
                    <a:pt x="18"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6" name="Freeform 9">
              <a:extLst>
                <a:ext uri="{FF2B5EF4-FFF2-40B4-BE49-F238E27FC236}">
                  <a16:creationId xmlns:a16="http://schemas.microsoft.com/office/drawing/2014/main" id="{9D73925A-ED63-863A-8F76-A8E92868D407}"/>
                </a:ext>
              </a:extLst>
            </p:cNvPr>
            <p:cNvSpPr>
              <a:spLocks noEditPoints="1"/>
            </p:cNvSpPr>
            <p:nvPr/>
          </p:nvSpPr>
          <p:spPr bwMode="auto">
            <a:xfrm>
              <a:off x="2106" y="2176"/>
              <a:ext cx="288" cy="286"/>
            </a:xfrm>
            <a:custGeom>
              <a:avLst/>
              <a:gdLst>
                <a:gd name="T0" fmla="*/ 144 w 288"/>
                <a:gd name="T1" fmla="*/ 286 h 286"/>
                <a:gd name="T2" fmla="*/ 114 w 288"/>
                <a:gd name="T3" fmla="*/ 284 h 286"/>
                <a:gd name="T4" fmla="*/ 88 w 288"/>
                <a:gd name="T5" fmla="*/ 276 h 286"/>
                <a:gd name="T6" fmla="*/ 62 w 288"/>
                <a:gd name="T7" fmla="*/ 262 h 286"/>
                <a:gd name="T8" fmla="*/ 42 w 288"/>
                <a:gd name="T9" fmla="*/ 244 h 286"/>
                <a:gd name="T10" fmla="*/ 24 w 288"/>
                <a:gd name="T11" fmla="*/ 224 h 286"/>
                <a:gd name="T12" fmla="*/ 10 w 288"/>
                <a:gd name="T13" fmla="*/ 198 h 286"/>
                <a:gd name="T14" fmla="*/ 2 w 288"/>
                <a:gd name="T15" fmla="*/ 172 h 286"/>
                <a:gd name="T16" fmla="*/ 0 w 288"/>
                <a:gd name="T17" fmla="*/ 144 h 286"/>
                <a:gd name="T18" fmla="*/ 0 w 288"/>
                <a:gd name="T19" fmla="*/ 128 h 286"/>
                <a:gd name="T20" fmla="*/ 6 w 288"/>
                <a:gd name="T21" fmla="*/ 100 h 286"/>
                <a:gd name="T22" fmla="*/ 16 w 288"/>
                <a:gd name="T23" fmla="*/ 74 h 286"/>
                <a:gd name="T24" fmla="*/ 32 w 288"/>
                <a:gd name="T25" fmla="*/ 52 h 286"/>
                <a:gd name="T26" fmla="*/ 52 w 288"/>
                <a:gd name="T27" fmla="*/ 32 h 286"/>
                <a:gd name="T28" fmla="*/ 74 w 288"/>
                <a:gd name="T29" fmla="*/ 16 h 286"/>
                <a:gd name="T30" fmla="*/ 100 w 288"/>
                <a:gd name="T31" fmla="*/ 6 h 286"/>
                <a:gd name="T32" fmla="*/ 128 w 288"/>
                <a:gd name="T33" fmla="*/ 0 h 286"/>
                <a:gd name="T34" fmla="*/ 144 w 288"/>
                <a:gd name="T35" fmla="*/ 0 h 286"/>
                <a:gd name="T36" fmla="*/ 172 w 288"/>
                <a:gd name="T37" fmla="*/ 2 h 286"/>
                <a:gd name="T38" fmla="*/ 200 w 288"/>
                <a:gd name="T39" fmla="*/ 10 h 286"/>
                <a:gd name="T40" fmla="*/ 224 w 288"/>
                <a:gd name="T41" fmla="*/ 24 h 286"/>
                <a:gd name="T42" fmla="*/ 244 w 288"/>
                <a:gd name="T43" fmla="*/ 42 h 286"/>
                <a:gd name="T44" fmla="*/ 262 w 288"/>
                <a:gd name="T45" fmla="*/ 62 h 286"/>
                <a:gd name="T46" fmla="*/ 276 w 288"/>
                <a:gd name="T47" fmla="*/ 88 h 286"/>
                <a:gd name="T48" fmla="*/ 284 w 288"/>
                <a:gd name="T49" fmla="*/ 114 h 286"/>
                <a:gd name="T50" fmla="*/ 288 w 288"/>
                <a:gd name="T51" fmla="*/ 144 h 286"/>
                <a:gd name="T52" fmla="*/ 286 w 288"/>
                <a:gd name="T53" fmla="*/ 158 h 286"/>
                <a:gd name="T54" fmla="*/ 280 w 288"/>
                <a:gd name="T55" fmla="*/ 186 h 286"/>
                <a:gd name="T56" fmla="*/ 270 w 288"/>
                <a:gd name="T57" fmla="*/ 212 h 286"/>
                <a:gd name="T58" fmla="*/ 254 w 288"/>
                <a:gd name="T59" fmla="*/ 234 h 286"/>
                <a:gd name="T60" fmla="*/ 234 w 288"/>
                <a:gd name="T61" fmla="*/ 254 h 286"/>
                <a:gd name="T62" fmla="*/ 212 w 288"/>
                <a:gd name="T63" fmla="*/ 270 h 286"/>
                <a:gd name="T64" fmla="*/ 186 w 288"/>
                <a:gd name="T65" fmla="*/ 280 h 286"/>
                <a:gd name="T66" fmla="*/ 158 w 288"/>
                <a:gd name="T67" fmla="*/ 286 h 286"/>
                <a:gd name="T68" fmla="*/ 144 w 288"/>
                <a:gd name="T69" fmla="*/ 286 h 286"/>
                <a:gd name="T70" fmla="*/ 144 w 288"/>
                <a:gd name="T71" fmla="*/ 18 h 286"/>
                <a:gd name="T72" fmla="*/ 118 w 288"/>
                <a:gd name="T73" fmla="*/ 20 h 286"/>
                <a:gd name="T74" fmla="*/ 94 w 288"/>
                <a:gd name="T75" fmla="*/ 28 h 286"/>
                <a:gd name="T76" fmla="*/ 54 w 288"/>
                <a:gd name="T77" fmla="*/ 54 h 286"/>
                <a:gd name="T78" fmla="*/ 28 w 288"/>
                <a:gd name="T79" fmla="*/ 94 h 286"/>
                <a:gd name="T80" fmla="*/ 20 w 288"/>
                <a:gd name="T81" fmla="*/ 118 h 286"/>
                <a:gd name="T82" fmla="*/ 18 w 288"/>
                <a:gd name="T83" fmla="*/ 144 h 286"/>
                <a:gd name="T84" fmla="*/ 18 w 288"/>
                <a:gd name="T85" fmla="*/ 156 h 286"/>
                <a:gd name="T86" fmla="*/ 24 w 288"/>
                <a:gd name="T87" fmla="*/ 180 h 286"/>
                <a:gd name="T88" fmla="*/ 40 w 288"/>
                <a:gd name="T89" fmla="*/ 214 h 286"/>
                <a:gd name="T90" fmla="*/ 74 w 288"/>
                <a:gd name="T91" fmla="*/ 248 h 286"/>
                <a:gd name="T92" fmla="*/ 106 w 288"/>
                <a:gd name="T93" fmla="*/ 264 h 286"/>
                <a:gd name="T94" fmla="*/ 130 w 288"/>
                <a:gd name="T95" fmla="*/ 268 h 286"/>
                <a:gd name="T96" fmla="*/ 144 w 288"/>
                <a:gd name="T97" fmla="*/ 268 h 286"/>
                <a:gd name="T98" fmla="*/ 168 w 288"/>
                <a:gd name="T99" fmla="*/ 266 h 286"/>
                <a:gd name="T100" fmla="*/ 192 w 288"/>
                <a:gd name="T101" fmla="*/ 258 h 286"/>
                <a:gd name="T102" fmla="*/ 232 w 288"/>
                <a:gd name="T103" fmla="*/ 232 h 286"/>
                <a:gd name="T104" fmla="*/ 260 w 288"/>
                <a:gd name="T105" fmla="*/ 192 h 286"/>
                <a:gd name="T106" fmla="*/ 266 w 288"/>
                <a:gd name="T107" fmla="*/ 168 h 286"/>
                <a:gd name="T108" fmla="*/ 270 w 288"/>
                <a:gd name="T109" fmla="*/ 144 h 286"/>
                <a:gd name="T110" fmla="*/ 268 w 288"/>
                <a:gd name="T111" fmla="*/ 130 h 286"/>
                <a:gd name="T112" fmla="*/ 264 w 288"/>
                <a:gd name="T113" fmla="*/ 106 h 286"/>
                <a:gd name="T114" fmla="*/ 248 w 288"/>
                <a:gd name="T115" fmla="*/ 72 h 286"/>
                <a:gd name="T116" fmla="*/ 214 w 288"/>
                <a:gd name="T117" fmla="*/ 38 h 286"/>
                <a:gd name="T118" fmla="*/ 180 w 288"/>
                <a:gd name="T119" fmla="*/ 22 h 286"/>
                <a:gd name="T120" fmla="*/ 156 w 288"/>
                <a:gd name="T121" fmla="*/ 18 h 286"/>
                <a:gd name="T122" fmla="*/ 144 w 288"/>
                <a:gd name="T123" fmla="*/ 1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286">
                  <a:moveTo>
                    <a:pt x="144" y="286"/>
                  </a:moveTo>
                  <a:lnTo>
                    <a:pt x="144" y="286"/>
                  </a:lnTo>
                  <a:lnTo>
                    <a:pt x="128" y="286"/>
                  </a:lnTo>
                  <a:lnTo>
                    <a:pt x="114" y="284"/>
                  </a:lnTo>
                  <a:lnTo>
                    <a:pt x="100" y="280"/>
                  </a:lnTo>
                  <a:lnTo>
                    <a:pt x="88" y="276"/>
                  </a:lnTo>
                  <a:lnTo>
                    <a:pt x="74" y="270"/>
                  </a:lnTo>
                  <a:lnTo>
                    <a:pt x="62" y="262"/>
                  </a:lnTo>
                  <a:lnTo>
                    <a:pt x="52" y="254"/>
                  </a:lnTo>
                  <a:lnTo>
                    <a:pt x="42" y="244"/>
                  </a:lnTo>
                  <a:lnTo>
                    <a:pt x="32" y="234"/>
                  </a:lnTo>
                  <a:lnTo>
                    <a:pt x="24" y="224"/>
                  </a:lnTo>
                  <a:lnTo>
                    <a:pt x="16" y="212"/>
                  </a:lnTo>
                  <a:lnTo>
                    <a:pt x="10" y="198"/>
                  </a:lnTo>
                  <a:lnTo>
                    <a:pt x="6" y="186"/>
                  </a:lnTo>
                  <a:lnTo>
                    <a:pt x="2" y="172"/>
                  </a:lnTo>
                  <a:lnTo>
                    <a:pt x="0" y="158"/>
                  </a:lnTo>
                  <a:lnTo>
                    <a:pt x="0" y="144"/>
                  </a:lnTo>
                  <a:lnTo>
                    <a:pt x="0" y="144"/>
                  </a:lnTo>
                  <a:lnTo>
                    <a:pt x="0" y="128"/>
                  </a:lnTo>
                  <a:lnTo>
                    <a:pt x="2" y="114"/>
                  </a:lnTo>
                  <a:lnTo>
                    <a:pt x="6" y="100"/>
                  </a:lnTo>
                  <a:lnTo>
                    <a:pt x="10" y="88"/>
                  </a:lnTo>
                  <a:lnTo>
                    <a:pt x="16" y="74"/>
                  </a:lnTo>
                  <a:lnTo>
                    <a:pt x="24" y="62"/>
                  </a:lnTo>
                  <a:lnTo>
                    <a:pt x="32" y="52"/>
                  </a:lnTo>
                  <a:lnTo>
                    <a:pt x="42" y="42"/>
                  </a:lnTo>
                  <a:lnTo>
                    <a:pt x="52" y="32"/>
                  </a:lnTo>
                  <a:lnTo>
                    <a:pt x="62" y="24"/>
                  </a:lnTo>
                  <a:lnTo>
                    <a:pt x="74" y="16"/>
                  </a:lnTo>
                  <a:lnTo>
                    <a:pt x="88" y="10"/>
                  </a:lnTo>
                  <a:lnTo>
                    <a:pt x="100" y="6"/>
                  </a:lnTo>
                  <a:lnTo>
                    <a:pt x="114" y="2"/>
                  </a:lnTo>
                  <a:lnTo>
                    <a:pt x="128" y="0"/>
                  </a:lnTo>
                  <a:lnTo>
                    <a:pt x="144" y="0"/>
                  </a:lnTo>
                  <a:lnTo>
                    <a:pt x="144" y="0"/>
                  </a:lnTo>
                  <a:lnTo>
                    <a:pt x="158" y="0"/>
                  </a:lnTo>
                  <a:lnTo>
                    <a:pt x="172" y="2"/>
                  </a:lnTo>
                  <a:lnTo>
                    <a:pt x="186" y="6"/>
                  </a:lnTo>
                  <a:lnTo>
                    <a:pt x="200" y="10"/>
                  </a:lnTo>
                  <a:lnTo>
                    <a:pt x="212" y="16"/>
                  </a:lnTo>
                  <a:lnTo>
                    <a:pt x="224" y="24"/>
                  </a:lnTo>
                  <a:lnTo>
                    <a:pt x="234" y="32"/>
                  </a:lnTo>
                  <a:lnTo>
                    <a:pt x="244" y="42"/>
                  </a:lnTo>
                  <a:lnTo>
                    <a:pt x="254" y="52"/>
                  </a:lnTo>
                  <a:lnTo>
                    <a:pt x="262" y="62"/>
                  </a:lnTo>
                  <a:lnTo>
                    <a:pt x="270" y="74"/>
                  </a:lnTo>
                  <a:lnTo>
                    <a:pt x="276" y="88"/>
                  </a:lnTo>
                  <a:lnTo>
                    <a:pt x="280" y="100"/>
                  </a:lnTo>
                  <a:lnTo>
                    <a:pt x="284" y="114"/>
                  </a:lnTo>
                  <a:lnTo>
                    <a:pt x="286" y="128"/>
                  </a:lnTo>
                  <a:lnTo>
                    <a:pt x="288" y="144"/>
                  </a:lnTo>
                  <a:lnTo>
                    <a:pt x="288" y="144"/>
                  </a:lnTo>
                  <a:lnTo>
                    <a:pt x="286" y="158"/>
                  </a:lnTo>
                  <a:lnTo>
                    <a:pt x="284" y="172"/>
                  </a:lnTo>
                  <a:lnTo>
                    <a:pt x="280" y="186"/>
                  </a:lnTo>
                  <a:lnTo>
                    <a:pt x="276" y="198"/>
                  </a:lnTo>
                  <a:lnTo>
                    <a:pt x="270" y="212"/>
                  </a:lnTo>
                  <a:lnTo>
                    <a:pt x="262" y="224"/>
                  </a:lnTo>
                  <a:lnTo>
                    <a:pt x="254" y="234"/>
                  </a:lnTo>
                  <a:lnTo>
                    <a:pt x="244" y="244"/>
                  </a:lnTo>
                  <a:lnTo>
                    <a:pt x="234" y="254"/>
                  </a:lnTo>
                  <a:lnTo>
                    <a:pt x="224" y="262"/>
                  </a:lnTo>
                  <a:lnTo>
                    <a:pt x="212" y="270"/>
                  </a:lnTo>
                  <a:lnTo>
                    <a:pt x="200" y="276"/>
                  </a:lnTo>
                  <a:lnTo>
                    <a:pt x="186" y="280"/>
                  </a:lnTo>
                  <a:lnTo>
                    <a:pt x="172" y="284"/>
                  </a:lnTo>
                  <a:lnTo>
                    <a:pt x="158" y="286"/>
                  </a:lnTo>
                  <a:lnTo>
                    <a:pt x="144" y="286"/>
                  </a:lnTo>
                  <a:lnTo>
                    <a:pt x="144" y="286"/>
                  </a:lnTo>
                  <a:close/>
                  <a:moveTo>
                    <a:pt x="144" y="18"/>
                  </a:moveTo>
                  <a:lnTo>
                    <a:pt x="144" y="18"/>
                  </a:lnTo>
                  <a:lnTo>
                    <a:pt x="130" y="18"/>
                  </a:lnTo>
                  <a:lnTo>
                    <a:pt x="118" y="20"/>
                  </a:lnTo>
                  <a:lnTo>
                    <a:pt x="106" y="22"/>
                  </a:lnTo>
                  <a:lnTo>
                    <a:pt x="94" y="28"/>
                  </a:lnTo>
                  <a:lnTo>
                    <a:pt x="74" y="38"/>
                  </a:lnTo>
                  <a:lnTo>
                    <a:pt x="54" y="54"/>
                  </a:lnTo>
                  <a:lnTo>
                    <a:pt x="40" y="72"/>
                  </a:lnTo>
                  <a:lnTo>
                    <a:pt x="28" y="94"/>
                  </a:lnTo>
                  <a:lnTo>
                    <a:pt x="24" y="106"/>
                  </a:lnTo>
                  <a:lnTo>
                    <a:pt x="20" y="118"/>
                  </a:lnTo>
                  <a:lnTo>
                    <a:pt x="18" y="130"/>
                  </a:lnTo>
                  <a:lnTo>
                    <a:pt x="18" y="144"/>
                  </a:lnTo>
                  <a:lnTo>
                    <a:pt x="18" y="144"/>
                  </a:lnTo>
                  <a:lnTo>
                    <a:pt x="18" y="156"/>
                  </a:lnTo>
                  <a:lnTo>
                    <a:pt x="20" y="168"/>
                  </a:lnTo>
                  <a:lnTo>
                    <a:pt x="24" y="180"/>
                  </a:lnTo>
                  <a:lnTo>
                    <a:pt x="28" y="192"/>
                  </a:lnTo>
                  <a:lnTo>
                    <a:pt x="40" y="214"/>
                  </a:lnTo>
                  <a:lnTo>
                    <a:pt x="54" y="232"/>
                  </a:lnTo>
                  <a:lnTo>
                    <a:pt x="74" y="248"/>
                  </a:lnTo>
                  <a:lnTo>
                    <a:pt x="94" y="258"/>
                  </a:lnTo>
                  <a:lnTo>
                    <a:pt x="106" y="264"/>
                  </a:lnTo>
                  <a:lnTo>
                    <a:pt x="118" y="266"/>
                  </a:lnTo>
                  <a:lnTo>
                    <a:pt x="130" y="268"/>
                  </a:lnTo>
                  <a:lnTo>
                    <a:pt x="144" y="268"/>
                  </a:lnTo>
                  <a:lnTo>
                    <a:pt x="144" y="268"/>
                  </a:lnTo>
                  <a:lnTo>
                    <a:pt x="156" y="268"/>
                  </a:lnTo>
                  <a:lnTo>
                    <a:pt x="168" y="266"/>
                  </a:lnTo>
                  <a:lnTo>
                    <a:pt x="180" y="264"/>
                  </a:lnTo>
                  <a:lnTo>
                    <a:pt x="192" y="258"/>
                  </a:lnTo>
                  <a:lnTo>
                    <a:pt x="214" y="248"/>
                  </a:lnTo>
                  <a:lnTo>
                    <a:pt x="232" y="232"/>
                  </a:lnTo>
                  <a:lnTo>
                    <a:pt x="248" y="214"/>
                  </a:lnTo>
                  <a:lnTo>
                    <a:pt x="260" y="192"/>
                  </a:lnTo>
                  <a:lnTo>
                    <a:pt x="264" y="180"/>
                  </a:lnTo>
                  <a:lnTo>
                    <a:pt x="266" y="168"/>
                  </a:lnTo>
                  <a:lnTo>
                    <a:pt x="268" y="156"/>
                  </a:lnTo>
                  <a:lnTo>
                    <a:pt x="270" y="144"/>
                  </a:lnTo>
                  <a:lnTo>
                    <a:pt x="270" y="144"/>
                  </a:lnTo>
                  <a:lnTo>
                    <a:pt x="268" y="130"/>
                  </a:lnTo>
                  <a:lnTo>
                    <a:pt x="266" y="118"/>
                  </a:lnTo>
                  <a:lnTo>
                    <a:pt x="264" y="106"/>
                  </a:lnTo>
                  <a:lnTo>
                    <a:pt x="260" y="94"/>
                  </a:lnTo>
                  <a:lnTo>
                    <a:pt x="248" y="72"/>
                  </a:lnTo>
                  <a:lnTo>
                    <a:pt x="232" y="54"/>
                  </a:lnTo>
                  <a:lnTo>
                    <a:pt x="214" y="38"/>
                  </a:lnTo>
                  <a:lnTo>
                    <a:pt x="192" y="28"/>
                  </a:lnTo>
                  <a:lnTo>
                    <a:pt x="180" y="22"/>
                  </a:lnTo>
                  <a:lnTo>
                    <a:pt x="168" y="20"/>
                  </a:lnTo>
                  <a:lnTo>
                    <a:pt x="156" y="18"/>
                  </a:lnTo>
                  <a:lnTo>
                    <a:pt x="144" y="18"/>
                  </a:lnTo>
                  <a:lnTo>
                    <a:pt x="1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7" name="Rectangle 10">
              <a:extLst>
                <a:ext uri="{FF2B5EF4-FFF2-40B4-BE49-F238E27FC236}">
                  <a16:creationId xmlns:a16="http://schemas.microsoft.com/office/drawing/2014/main" id="{6545A87E-BF68-8CB8-130A-866F034AC39F}"/>
                </a:ext>
              </a:extLst>
            </p:cNvPr>
            <p:cNvSpPr>
              <a:spLocks noChangeArrowheads="1"/>
            </p:cNvSpPr>
            <p:nvPr/>
          </p:nvSpPr>
          <p:spPr bwMode="auto">
            <a:xfrm>
              <a:off x="1868" y="2028"/>
              <a:ext cx="7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8" name="Rectangle 11">
              <a:extLst>
                <a:ext uri="{FF2B5EF4-FFF2-40B4-BE49-F238E27FC236}">
                  <a16:creationId xmlns:a16="http://schemas.microsoft.com/office/drawing/2014/main" id="{DFC296E9-0372-9296-4922-2703D8186890}"/>
                </a:ext>
              </a:extLst>
            </p:cNvPr>
            <p:cNvSpPr>
              <a:spLocks noChangeArrowheads="1"/>
            </p:cNvSpPr>
            <p:nvPr/>
          </p:nvSpPr>
          <p:spPr bwMode="auto">
            <a:xfrm>
              <a:off x="1868" y="2076"/>
              <a:ext cx="7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39" name="Freeform 12">
              <a:extLst>
                <a:ext uri="{FF2B5EF4-FFF2-40B4-BE49-F238E27FC236}">
                  <a16:creationId xmlns:a16="http://schemas.microsoft.com/office/drawing/2014/main" id="{56B73DA2-EDFE-9443-6A14-385ACA9AF3B0}"/>
                </a:ext>
              </a:extLst>
            </p:cNvPr>
            <p:cNvSpPr>
              <a:spLocks/>
            </p:cNvSpPr>
            <p:nvPr/>
          </p:nvSpPr>
          <p:spPr bwMode="auto">
            <a:xfrm>
              <a:off x="2052" y="1900"/>
              <a:ext cx="382" cy="96"/>
            </a:xfrm>
            <a:custGeom>
              <a:avLst/>
              <a:gdLst>
                <a:gd name="T0" fmla="*/ 368 w 382"/>
                <a:gd name="T1" fmla="*/ 96 h 96"/>
                <a:gd name="T2" fmla="*/ 362 w 382"/>
                <a:gd name="T3" fmla="*/ 90 h 96"/>
                <a:gd name="T4" fmla="*/ 362 w 382"/>
                <a:gd name="T5" fmla="*/ 90 h 96"/>
                <a:gd name="T6" fmla="*/ 348 w 382"/>
                <a:gd name="T7" fmla="*/ 74 h 96"/>
                <a:gd name="T8" fmla="*/ 332 w 382"/>
                <a:gd name="T9" fmla="*/ 60 h 96"/>
                <a:gd name="T10" fmla="*/ 312 w 382"/>
                <a:gd name="T11" fmla="*/ 48 h 96"/>
                <a:gd name="T12" fmla="*/ 292 w 382"/>
                <a:gd name="T13" fmla="*/ 38 h 96"/>
                <a:gd name="T14" fmla="*/ 268 w 382"/>
                <a:gd name="T15" fmla="*/ 30 h 96"/>
                <a:gd name="T16" fmla="*/ 244 w 382"/>
                <a:gd name="T17" fmla="*/ 24 h 96"/>
                <a:gd name="T18" fmla="*/ 218 w 382"/>
                <a:gd name="T19" fmla="*/ 20 h 96"/>
                <a:gd name="T20" fmla="*/ 190 w 382"/>
                <a:gd name="T21" fmla="*/ 18 h 96"/>
                <a:gd name="T22" fmla="*/ 190 w 382"/>
                <a:gd name="T23" fmla="*/ 18 h 96"/>
                <a:gd name="T24" fmla="*/ 164 w 382"/>
                <a:gd name="T25" fmla="*/ 20 h 96"/>
                <a:gd name="T26" fmla="*/ 138 w 382"/>
                <a:gd name="T27" fmla="*/ 24 h 96"/>
                <a:gd name="T28" fmla="*/ 114 w 382"/>
                <a:gd name="T29" fmla="*/ 30 h 96"/>
                <a:gd name="T30" fmla="*/ 90 w 382"/>
                <a:gd name="T31" fmla="*/ 38 h 96"/>
                <a:gd name="T32" fmla="*/ 68 w 382"/>
                <a:gd name="T33" fmla="*/ 48 h 96"/>
                <a:gd name="T34" fmla="*/ 50 w 382"/>
                <a:gd name="T35" fmla="*/ 60 h 96"/>
                <a:gd name="T36" fmla="*/ 32 w 382"/>
                <a:gd name="T37" fmla="*/ 74 h 96"/>
                <a:gd name="T38" fmla="*/ 18 w 382"/>
                <a:gd name="T39" fmla="*/ 90 h 96"/>
                <a:gd name="T40" fmla="*/ 14 w 382"/>
                <a:gd name="T41" fmla="*/ 96 h 96"/>
                <a:gd name="T42" fmla="*/ 0 w 382"/>
                <a:gd name="T43" fmla="*/ 86 h 96"/>
                <a:gd name="T44" fmla="*/ 4 w 382"/>
                <a:gd name="T45" fmla="*/ 78 h 96"/>
                <a:gd name="T46" fmla="*/ 4 w 382"/>
                <a:gd name="T47" fmla="*/ 78 h 96"/>
                <a:gd name="T48" fmla="*/ 20 w 382"/>
                <a:gd name="T49" fmla="*/ 62 h 96"/>
                <a:gd name="T50" fmla="*/ 38 w 382"/>
                <a:gd name="T51" fmla="*/ 46 h 96"/>
                <a:gd name="T52" fmla="*/ 58 w 382"/>
                <a:gd name="T53" fmla="*/ 32 h 96"/>
                <a:gd name="T54" fmla="*/ 82 w 382"/>
                <a:gd name="T55" fmla="*/ 22 h 96"/>
                <a:gd name="T56" fmla="*/ 106 w 382"/>
                <a:gd name="T57" fmla="*/ 12 h 96"/>
                <a:gd name="T58" fmla="*/ 134 w 382"/>
                <a:gd name="T59" fmla="*/ 6 h 96"/>
                <a:gd name="T60" fmla="*/ 162 w 382"/>
                <a:gd name="T61" fmla="*/ 2 h 96"/>
                <a:gd name="T62" fmla="*/ 190 w 382"/>
                <a:gd name="T63" fmla="*/ 0 h 96"/>
                <a:gd name="T64" fmla="*/ 190 w 382"/>
                <a:gd name="T65" fmla="*/ 0 h 96"/>
                <a:gd name="T66" fmla="*/ 220 w 382"/>
                <a:gd name="T67" fmla="*/ 2 h 96"/>
                <a:gd name="T68" fmla="*/ 248 w 382"/>
                <a:gd name="T69" fmla="*/ 6 h 96"/>
                <a:gd name="T70" fmla="*/ 274 w 382"/>
                <a:gd name="T71" fmla="*/ 12 h 96"/>
                <a:gd name="T72" fmla="*/ 300 w 382"/>
                <a:gd name="T73" fmla="*/ 22 h 96"/>
                <a:gd name="T74" fmla="*/ 322 w 382"/>
                <a:gd name="T75" fmla="*/ 32 h 96"/>
                <a:gd name="T76" fmla="*/ 344 w 382"/>
                <a:gd name="T77" fmla="*/ 46 h 96"/>
                <a:gd name="T78" fmla="*/ 362 w 382"/>
                <a:gd name="T79" fmla="*/ 62 h 96"/>
                <a:gd name="T80" fmla="*/ 376 w 382"/>
                <a:gd name="T81" fmla="*/ 78 h 96"/>
                <a:gd name="T82" fmla="*/ 382 w 382"/>
                <a:gd name="T83" fmla="*/ 86 h 96"/>
                <a:gd name="T84" fmla="*/ 368 w 382"/>
                <a:gd name="T8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2" h="96">
                  <a:moveTo>
                    <a:pt x="368" y="96"/>
                  </a:moveTo>
                  <a:lnTo>
                    <a:pt x="362" y="90"/>
                  </a:lnTo>
                  <a:lnTo>
                    <a:pt x="362" y="90"/>
                  </a:lnTo>
                  <a:lnTo>
                    <a:pt x="348" y="74"/>
                  </a:lnTo>
                  <a:lnTo>
                    <a:pt x="332" y="60"/>
                  </a:lnTo>
                  <a:lnTo>
                    <a:pt x="312" y="48"/>
                  </a:lnTo>
                  <a:lnTo>
                    <a:pt x="292" y="38"/>
                  </a:lnTo>
                  <a:lnTo>
                    <a:pt x="268" y="30"/>
                  </a:lnTo>
                  <a:lnTo>
                    <a:pt x="244" y="24"/>
                  </a:lnTo>
                  <a:lnTo>
                    <a:pt x="218" y="20"/>
                  </a:lnTo>
                  <a:lnTo>
                    <a:pt x="190" y="18"/>
                  </a:lnTo>
                  <a:lnTo>
                    <a:pt x="190" y="18"/>
                  </a:lnTo>
                  <a:lnTo>
                    <a:pt x="164" y="20"/>
                  </a:lnTo>
                  <a:lnTo>
                    <a:pt x="138" y="24"/>
                  </a:lnTo>
                  <a:lnTo>
                    <a:pt x="114" y="30"/>
                  </a:lnTo>
                  <a:lnTo>
                    <a:pt x="90" y="38"/>
                  </a:lnTo>
                  <a:lnTo>
                    <a:pt x="68" y="48"/>
                  </a:lnTo>
                  <a:lnTo>
                    <a:pt x="50" y="60"/>
                  </a:lnTo>
                  <a:lnTo>
                    <a:pt x="32" y="74"/>
                  </a:lnTo>
                  <a:lnTo>
                    <a:pt x="18" y="90"/>
                  </a:lnTo>
                  <a:lnTo>
                    <a:pt x="14" y="96"/>
                  </a:lnTo>
                  <a:lnTo>
                    <a:pt x="0" y="86"/>
                  </a:lnTo>
                  <a:lnTo>
                    <a:pt x="4" y="78"/>
                  </a:lnTo>
                  <a:lnTo>
                    <a:pt x="4" y="78"/>
                  </a:lnTo>
                  <a:lnTo>
                    <a:pt x="20" y="62"/>
                  </a:lnTo>
                  <a:lnTo>
                    <a:pt x="38" y="46"/>
                  </a:lnTo>
                  <a:lnTo>
                    <a:pt x="58" y="32"/>
                  </a:lnTo>
                  <a:lnTo>
                    <a:pt x="82" y="22"/>
                  </a:lnTo>
                  <a:lnTo>
                    <a:pt x="106" y="12"/>
                  </a:lnTo>
                  <a:lnTo>
                    <a:pt x="134" y="6"/>
                  </a:lnTo>
                  <a:lnTo>
                    <a:pt x="162" y="2"/>
                  </a:lnTo>
                  <a:lnTo>
                    <a:pt x="190" y="0"/>
                  </a:lnTo>
                  <a:lnTo>
                    <a:pt x="190" y="0"/>
                  </a:lnTo>
                  <a:lnTo>
                    <a:pt x="220" y="2"/>
                  </a:lnTo>
                  <a:lnTo>
                    <a:pt x="248" y="6"/>
                  </a:lnTo>
                  <a:lnTo>
                    <a:pt x="274" y="12"/>
                  </a:lnTo>
                  <a:lnTo>
                    <a:pt x="300" y="22"/>
                  </a:lnTo>
                  <a:lnTo>
                    <a:pt x="322" y="32"/>
                  </a:lnTo>
                  <a:lnTo>
                    <a:pt x="344" y="46"/>
                  </a:lnTo>
                  <a:lnTo>
                    <a:pt x="362" y="62"/>
                  </a:lnTo>
                  <a:lnTo>
                    <a:pt x="376" y="78"/>
                  </a:lnTo>
                  <a:lnTo>
                    <a:pt x="382" y="86"/>
                  </a:lnTo>
                  <a:lnTo>
                    <a:pt x="3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0" name="Freeform 13">
              <a:extLst>
                <a:ext uri="{FF2B5EF4-FFF2-40B4-BE49-F238E27FC236}">
                  <a16:creationId xmlns:a16="http://schemas.microsoft.com/office/drawing/2014/main" id="{4812973A-067A-2052-A5C2-63C552F0980C}"/>
                </a:ext>
              </a:extLst>
            </p:cNvPr>
            <p:cNvSpPr>
              <a:spLocks/>
            </p:cNvSpPr>
            <p:nvPr/>
          </p:nvSpPr>
          <p:spPr bwMode="auto">
            <a:xfrm>
              <a:off x="2360" y="1922"/>
              <a:ext cx="74" cy="74"/>
            </a:xfrm>
            <a:custGeom>
              <a:avLst/>
              <a:gdLst>
                <a:gd name="T0" fmla="*/ 74 w 74"/>
                <a:gd name="T1" fmla="*/ 74 h 74"/>
                <a:gd name="T2" fmla="*/ 0 w 74"/>
                <a:gd name="T3" fmla="*/ 74 h 74"/>
                <a:gd name="T4" fmla="*/ 0 w 74"/>
                <a:gd name="T5" fmla="*/ 56 h 74"/>
                <a:gd name="T6" fmla="*/ 56 w 74"/>
                <a:gd name="T7" fmla="*/ 56 h 74"/>
                <a:gd name="T8" fmla="*/ 56 w 74"/>
                <a:gd name="T9" fmla="*/ 0 h 74"/>
                <a:gd name="T10" fmla="*/ 74 w 74"/>
                <a:gd name="T11" fmla="*/ 0 h 74"/>
                <a:gd name="T12" fmla="*/ 74 w 74"/>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74" h="74">
                  <a:moveTo>
                    <a:pt x="74" y="74"/>
                  </a:moveTo>
                  <a:lnTo>
                    <a:pt x="0" y="74"/>
                  </a:lnTo>
                  <a:lnTo>
                    <a:pt x="0" y="56"/>
                  </a:lnTo>
                  <a:lnTo>
                    <a:pt x="56" y="56"/>
                  </a:lnTo>
                  <a:lnTo>
                    <a:pt x="56" y="0"/>
                  </a:lnTo>
                  <a:lnTo>
                    <a:pt x="74" y="0"/>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1" name="Freeform 14">
              <a:extLst>
                <a:ext uri="{FF2B5EF4-FFF2-40B4-BE49-F238E27FC236}">
                  <a16:creationId xmlns:a16="http://schemas.microsoft.com/office/drawing/2014/main" id="{56AF1190-B23E-1780-7CE7-830BB0AA1489}"/>
                </a:ext>
              </a:extLst>
            </p:cNvPr>
            <p:cNvSpPr>
              <a:spLocks/>
            </p:cNvSpPr>
            <p:nvPr/>
          </p:nvSpPr>
          <p:spPr bwMode="auto">
            <a:xfrm>
              <a:off x="2054" y="2544"/>
              <a:ext cx="384" cy="96"/>
            </a:xfrm>
            <a:custGeom>
              <a:avLst/>
              <a:gdLst>
                <a:gd name="T0" fmla="*/ 192 w 384"/>
                <a:gd name="T1" fmla="*/ 96 h 96"/>
                <a:gd name="T2" fmla="*/ 192 w 384"/>
                <a:gd name="T3" fmla="*/ 96 h 96"/>
                <a:gd name="T4" fmla="*/ 164 w 384"/>
                <a:gd name="T5" fmla="*/ 94 h 96"/>
                <a:gd name="T6" fmla="*/ 136 w 384"/>
                <a:gd name="T7" fmla="*/ 90 h 96"/>
                <a:gd name="T8" fmla="*/ 108 w 384"/>
                <a:gd name="T9" fmla="*/ 84 h 96"/>
                <a:gd name="T10" fmla="*/ 84 w 384"/>
                <a:gd name="T11" fmla="*/ 74 h 96"/>
                <a:gd name="T12" fmla="*/ 60 w 384"/>
                <a:gd name="T13" fmla="*/ 64 h 96"/>
                <a:gd name="T14" fmla="*/ 40 w 384"/>
                <a:gd name="T15" fmla="*/ 50 h 96"/>
                <a:gd name="T16" fmla="*/ 22 w 384"/>
                <a:gd name="T17" fmla="*/ 36 h 96"/>
                <a:gd name="T18" fmla="*/ 6 w 384"/>
                <a:gd name="T19" fmla="*/ 18 h 96"/>
                <a:gd name="T20" fmla="*/ 0 w 384"/>
                <a:gd name="T21" fmla="*/ 10 h 96"/>
                <a:gd name="T22" fmla="*/ 14 w 384"/>
                <a:gd name="T23" fmla="*/ 0 h 96"/>
                <a:gd name="T24" fmla="*/ 20 w 384"/>
                <a:gd name="T25" fmla="*/ 8 h 96"/>
                <a:gd name="T26" fmla="*/ 20 w 384"/>
                <a:gd name="T27" fmla="*/ 8 h 96"/>
                <a:gd name="T28" fmla="*/ 34 w 384"/>
                <a:gd name="T29" fmla="*/ 22 h 96"/>
                <a:gd name="T30" fmla="*/ 50 w 384"/>
                <a:gd name="T31" fmla="*/ 36 h 96"/>
                <a:gd name="T32" fmla="*/ 70 w 384"/>
                <a:gd name="T33" fmla="*/ 48 h 96"/>
                <a:gd name="T34" fmla="*/ 92 w 384"/>
                <a:gd name="T35" fmla="*/ 58 h 96"/>
                <a:gd name="T36" fmla="*/ 114 w 384"/>
                <a:gd name="T37" fmla="*/ 66 h 96"/>
                <a:gd name="T38" fmla="*/ 140 w 384"/>
                <a:gd name="T39" fmla="*/ 72 h 96"/>
                <a:gd name="T40" fmla="*/ 166 w 384"/>
                <a:gd name="T41" fmla="*/ 76 h 96"/>
                <a:gd name="T42" fmla="*/ 192 w 384"/>
                <a:gd name="T43" fmla="*/ 78 h 96"/>
                <a:gd name="T44" fmla="*/ 192 w 384"/>
                <a:gd name="T45" fmla="*/ 78 h 96"/>
                <a:gd name="T46" fmla="*/ 218 w 384"/>
                <a:gd name="T47" fmla="*/ 76 h 96"/>
                <a:gd name="T48" fmla="*/ 244 w 384"/>
                <a:gd name="T49" fmla="*/ 72 h 96"/>
                <a:gd name="T50" fmla="*/ 270 w 384"/>
                <a:gd name="T51" fmla="*/ 66 h 96"/>
                <a:gd name="T52" fmla="*/ 292 w 384"/>
                <a:gd name="T53" fmla="*/ 58 h 96"/>
                <a:gd name="T54" fmla="*/ 314 w 384"/>
                <a:gd name="T55" fmla="*/ 48 h 96"/>
                <a:gd name="T56" fmla="*/ 334 w 384"/>
                <a:gd name="T57" fmla="*/ 36 h 96"/>
                <a:gd name="T58" fmla="*/ 350 w 384"/>
                <a:gd name="T59" fmla="*/ 22 h 96"/>
                <a:gd name="T60" fmla="*/ 364 w 384"/>
                <a:gd name="T61" fmla="*/ 8 h 96"/>
                <a:gd name="T62" fmla="*/ 370 w 384"/>
                <a:gd name="T63" fmla="*/ 0 h 96"/>
                <a:gd name="T64" fmla="*/ 384 w 384"/>
                <a:gd name="T65" fmla="*/ 10 h 96"/>
                <a:gd name="T66" fmla="*/ 378 w 384"/>
                <a:gd name="T67" fmla="*/ 18 h 96"/>
                <a:gd name="T68" fmla="*/ 378 w 384"/>
                <a:gd name="T69" fmla="*/ 18 h 96"/>
                <a:gd name="T70" fmla="*/ 362 w 384"/>
                <a:gd name="T71" fmla="*/ 36 h 96"/>
                <a:gd name="T72" fmla="*/ 344 w 384"/>
                <a:gd name="T73" fmla="*/ 50 h 96"/>
                <a:gd name="T74" fmla="*/ 324 w 384"/>
                <a:gd name="T75" fmla="*/ 64 h 96"/>
                <a:gd name="T76" fmla="*/ 300 w 384"/>
                <a:gd name="T77" fmla="*/ 74 h 96"/>
                <a:gd name="T78" fmla="*/ 276 w 384"/>
                <a:gd name="T79" fmla="*/ 84 h 96"/>
                <a:gd name="T80" fmla="*/ 248 w 384"/>
                <a:gd name="T81" fmla="*/ 90 h 96"/>
                <a:gd name="T82" fmla="*/ 220 w 384"/>
                <a:gd name="T83" fmla="*/ 94 h 96"/>
                <a:gd name="T84" fmla="*/ 192 w 384"/>
                <a:gd name="T85" fmla="*/ 96 h 96"/>
                <a:gd name="T86" fmla="*/ 192 w 384"/>
                <a:gd name="T8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4" h="96">
                  <a:moveTo>
                    <a:pt x="192" y="96"/>
                  </a:moveTo>
                  <a:lnTo>
                    <a:pt x="192" y="96"/>
                  </a:lnTo>
                  <a:lnTo>
                    <a:pt x="164" y="94"/>
                  </a:lnTo>
                  <a:lnTo>
                    <a:pt x="136" y="90"/>
                  </a:lnTo>
                  <a:lnTo>
                    <a:pt x="108" y="84"/>
                  </a:lnTo>
                  <a:lnTo>
                    <a:pt x="84" y="74"/>
                  </a:lnTo>
                  <a:lnTo>
                    <a:pt x="60" y="64"/>
                  </a:lnTo>
                  <a:lnTo>
                    <a:pt x="40" y="50"/>
                  </a:lnTo>
                  <a:lnTo>
                    <a:pt x="22" y="36"/>
                  </a:lnTo>
                  <a:lnTo>
                    <a:pt x="6" y="18"/>
                  </a:lnTo>
                  <a:lnTo>
                    <a:pt x="0" y="10"/>
                  </a:lnTo>
                  <a:lnTo>
                    <a:pt x="14" y="0"/>
                  </a:lnTo>
                  <a:lnTo>
                    <a:pt x="20" y="8"/>
                  </a:lnTo>
                  <a:lnTo>
                    <a:pt x="20" y="8"/>
                  </a:lnTo>
                  <a:lnTo>
                    <a:pt x="34" y="22"/>
                  </a:lnTo>
                  <a:lnTo>
                    <a:pt x="50" y="36"/>
                  </a:lnTo>
                  <a:lnTo>
                    <a:pt x="70" y="48"/>
                  </a:lnTo>
                  <a:lnTo>
                    <a:pt x="92" y="58"/>
                  </a:lnTo>
                  <a:lnTo>
                    <a:pt x="114" y="66"/>
                  </a:lnTo>
                  <a:lnTo>
                    <a:pt x="140" y="72"/>
                  </a:lnTo>
                  <a:lnTo>
                    <a:pt x="166" y="76"/>
                  </a:lnTo>
                  <a:lnTo>
                    <a:pt x="192" y="78"/>
                  </a:lnTo>
                  <a:lnTo>
                    <a:pt x="192" y="78"/>
                  </a:lnTo>
                  <a:lnTo>
                    <a:pt x="218" y="76"/>
                  </a:lnTo>
                  <a:lnTo>
                    <a:pt x="244" y="72"/>
                  </a:lnTo>
                  <a:lnTo>
                    <a:pt x="270" y="66"/>
                  </a:lnTo>
                  <a:lnTo>
                    <a:pt x="292" y="58"/>
                  </a:lnTo>
                  <a:lnTo>
                    <a:pt x="314" y="48"/>
                  </a:lnTo>
                  <a:lnTo>
                    <a:pt x="334" y="36"/>
                  </a:lnTo>
                  <a:lnTo>
                    <a:pt x="350" y="22"/>
                  </a:lnTo>
                  <a:lnTo>
                    <a:pt x="364" y="8"/>
                  </a:lnTo>
                  <a:lnTo>
                    <a:pt x="370" y="0"/>
                  </a:lnTo>
                  <a:lnTo>
                    <a:pt x="384" y="10"/>
                  </a:lnTo>
                  <a:lnTo>
                    <a:pt x="378" y="18"/>
                  </a:lnTo>
                  <a:lnTo>
                    <a:pt x="378" y="18"/>
                  </a:lnTo>
                  <a:lnTo>
                    <a:pt x="362" y="36"/>
                  </a:lnTo>
                  <a:lnTo>
                    <a:pt x="344" y="50"/>
                  </a:lnTo>
                  <a:lnTo>
                    <a:pt x="324" y="64"/>
                  </a:lnTo>
                  <a:lnTo>
                    <a:pt x="300" y="74"/>
                  </a:lnTo>
                  <a:lnTo>
                    <a:pt x="276" y="84"/>
                  </a:lnTo>
                  <a:lnTo>
                    <a:pt x="248" y="90"/>
                  </a:lnTo>
                  <a:lnTo>
                    <a:pt x="220" y="94"/>
                  </a:lnTo>
                  <a:lnTo>
                    <a:pt x="192" y="96"/>
                  </a:lnTo>
                  <a:lnTo>
                    <a:pt x="19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2" name="Freeform 15">
              <a:extLst>
                <a:ext uri="{FF2B5EF4-FFF2-40B4-BE49-F238E27FC236}">
                  <a16:creationId xmlns:a16="http://schemas.microsoft.com/office/drawing/2014/main" id="{18C9F2B1-CEC4-347E-DA8E-5C6DEA306D3D}"/>
                </a:ext>
              </a:extLst>
            </p:cNvPr>
            <p:cNvSpPr>
              <a:spLocks/>
            </p:cNvSpPr>
            <p:nvPr/>
          </p:nvSpPr>
          <p:spPr bwMode="auto">
            <a:xfrm>
              <a:off x="2054" y="2544"/>
              <a:ext cx="74" cy="74"/>
            </a:xfrm>
            <a:custGeom>
              <a:avLst/>
              <a:gdLst>
                <a:gd name="T0" fmla="*/ 18 w 74"/>
                <a:gd name="T1" fmla="*/ 74 h 74"/>
                <a:gd name="T2" fmla="*/ 0 w 74"/>
                <a:gd name="T3" fmla="*/ 74 h 74"/>
                <a:gd name="T4" fmla="*/ 0 w 74"/>
                <a:gd name="T5" fmla="*/ 0 h 74"/>
                <a:gd name="T6" fmla="*/ 74 w 74"/>
                <a:gd name="T7" fmla="*/ 0 h 74"/>
                <a:gd name="T8" fmla="*/ 74 w 74"/>
                <a:gd name="T9" fmla="*/ 18 h 74"/>
                <a:gd name="T10" fmla="*/ 18 w 74"/>
                <a:gd name="T11" fmla="*/ 18 h 74"/>
                <a:gd name="T12" fmla="*/ 18 w 74"/>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74" h="74">
                  <a:moveTo>
                    <a:pt x="18" y="74"/>
                  </a:moveTo>
                  <a:lnTo>
                    <a:pt x="0" y="74"/>
                  </a:lnTo>
                  <a:lnTo>
                    <a:pt x="0" y="0"/>
                  </a:lnTo>
                  <a:lnTo>
                    <a:pt x="74" y="0"/>
                  </a:lnTo>
                  <a:lnTo>
                    <a:pt x="74" y="18"/>
                  </a:lnTo>
                  <a:lnTo>
                    <a:pt x="18" y="18"/>
                  </a:lnTo>
                  <a:lnTo>
                    <a:pt x="1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3" name="Freeform 16">
              <a:extLst>
                <a:ext uri="{FF2B5EF4-FFF2-40B4-BE49-F238E27FC236}">
                  <a16:creationId xmlns:a16="http://schemas.microsoft.com/office/drawing/2014/main" id="{060EB136-1C3B-3F35-4DB4-9EDE3BCCDD09}"/>
                </a:ext>
              </a:extLst>
            </p:cNvPr>
            <p:cNvSpPr>
              <a:spLocks noEditPoints="1"/>
            </p:cNvSpPr>
            <p:nvPr/>
          </p:nvSpPr>
          <p:spPr bwMode="auto">
            <a:xfrm>
              <a:off x="2412" y="2272"/>
              <a:ext cx="94" cy="94"/>
            </a:xfrm>
            <a:custGeom>
              <a:avLst/>
              <a:gdLst>
                <a:gd name="T0" fmla="*/ 46 w 94"/>
                <a:gd name="T1" fmla="*/ 94 h 94"/>
                <a:gd name="T2" fmla="*/ 46 w 94"/>
                <a:gd name="T3" fmla="*/ 94 h 94"/>
                <a:gd name="T4" fmla="*/ 36 w 94"/>
                <a:gd name="T5" fmla="*/ 94 h 94"/>
                <a:gd name="T6" fmla="*/ 28 w 94"/>
                <a:gd name="T7" fmla="*/ 90 h 94"/>
                <a:gd name="T8" fmla="*/ 20 w 94"/>
                <a:gd name="T9" fmla="*/ 86 h 94"/>
                <a:gd name="T10" fmla="*/ 12 w 94"/>
                <a:gd name="T11" fmla="*/ 80 h 94"/>
                <a:gd name="T12" fmla="*/ 8 w 94"/>
                <a:gd name="T13" fmla="*/ 74 h 94"/>
                <a:gd name="T14" fmla="*/ 2 w 94"/>
                <a:gd name="T15" fmla="*/ 66 h 94"/>
                <a:gd name="T16" fmla="*/ 0 w 94"/>
                <a:gd name="T17" fmla="*/ 56 h 94"/>
                <a:gd name="T18" fmla="*/ 0 w 94"/>
                <a:gd name="T19" fmla="*/ 48 h 94"/>
                <a:gd name="T20" fmla="*/ 0 w 94"/>
                <a:gd name="T21" fmla="*/ 48 h 94"/>
                <a:gd name="T22" fmla="*/ 0 w 94"/>
                <a:gd name="T23" fmla="*/ 38 h 94"/>
                <a:gd name="T24" fmla="*/ 2 w 94"/>
                <a:gd name="T25" fmla="*/ 28 h 94"/>
                <a:gd name="T26" fmla="*/ 8 w 94"/>
                <a:gd name="T27" fmla="*/ 20 h 94"/>
                <a:gd name="T28" fmla="*/ 12 w 94"/>
                <a:gd name="T29" fmla="*/ 14 h 94"/>
                <a:gd name="T30" fmla="*/ 20 w 94"/>
                <a:gd name="T31" fmla="*/ 8 h 94"/>
                <a:gd name="T32" fmla="*/ 28 w 94"/>
                <a:gd name="T33" fmla="*/ 4 h 94"/>
                <a:gd name="T34" fmla="*/ 36 w 94"/>
                <a:gd name="T35" fmla="*/ 0 h 94"/>
                <a:gd name="T36" fmla="*/ 46 w 94"/>
                <a:gd name="T37" fmla="*/ 0 h 94"/>
                <a:gd name="T38" fmla="*/ 46 w 94"/>
                <a:gd name="T39" fmla="*/ 0 h 94"/>
                <a:gd name="T40" fmla="*/ 56 w 94"/>
                <a:gd name="T41" fmla="*/ 0 h 94"/>
                <a:gd name="T42" fmla="*/ 64 w 94"/>
                <a:gd name="T43" fmla="*/ 4 h 94"/>
                <a:gd name="T44" fmla="*/ 72 w 94"/>
                <a:gd name="T45" fmla="*/ 8 h 94"/>
                <a:gd name="T46" fmla="*/ 80 w 94"/>
                <a:gd name="T47" fmla="*/ 14 h 94"/>
                <a:gd name="T48" fmla="*/ 86 w 94"/>
                <a:gd name="T49" fmla="*/ 20 h 94"/>
                <a:gd name="T50" fmla="*/ 90 w 94"/>
                <a:gd name="T51" fmla="*/ 28 h 94"/>
                <a:gd name="T52" fmla="*/ 92 w 94"/>
                <a:gd name="T53" fmla="*/ 38 h 94"/>
                <a:gd name="T54" fmla="*/ 94 w 94"/>
                <a:gd name="T55" fmla="*/ 48 h 94"/>
                <a:gd name="T56" fmla="*/ 94 w 94"/>
                <a:gd name="T57" fmla="*/ 48 h 94"/>
                <a:gd name="T58" fmla="*/ 92 w 94"/>
                <a:gd name="T59" fmla="*/ 56 h 94"/>
                <a:gd name="T60" fmla="*/ 90 w 94"/>
                <a:gd name="T61" fmla="*/ 66 h 94"/>
                <a:gd name="T62" fmla="*/ 86 w 94"/>
                <a:gd name="T63" fmla="*/ 74 h 94"/>
                <a:gd name="T64" fmla="*/ 80 w 94"/>
                <a:gd name="T65" fmla="*/ 80 h 94"/>
                <a:gd name="T66" fmla="*/ 72 w 94"/>
                <a:gd name="T67" fmla="*/ 86 h 94"/>
                <a:gd name="T68" fmla="*/ 64 w 94"/>
                <a:gd name="T69" fmla="*/ 90 h 94"/>
                <a:gd name="T70" fmla="*/ 56 w 94"/>
                <a:gd name="T71" fmla="*/ 94 h 94"/>
                <a:gd name="T72" fmla="*/ 46 w 94"/>
                <a:gd name="T73" fmla="*/ 94 h 94"/>
                <a:gd name="T74" fmla="*/ 46 w 94"/>
                <a:gd name="T75" fmla="*/ 94 h 94"/>
                <a:gd name="T76" fmla="*/ 46 w 94"/>
                <a:gd name="T77" fmla="*/ 18 h 94"/>
                <a:gd name="T78" fmla="*/ 46 w 94"/>
                <a:gd name="T79" fmla="*/ 18 h 94"/>
                <a:gd name="T80" fmla="*/ 34 w 94"/>
                <a:gd name="T81" fmla="*/ 20 h 94"/>
                <a:gd name="T82" fmla="*/ 26 w 94"/>
                <a:gd name="T83" fmla="*/ 26 h 94"/>
                <a:gd name="T84" fmla="*/ 20 w 94"/>
                <a:gd name="T85" fmla="*/ 36 h 94"/>
                <a:gd name="T86" fmla="*/ 18 w 94"/>
                <a:gd name="T87" fmla="*/ 48 h 94"/>
                <a:gd name="T88" fmla="*/ 18 w 94"/>
                <a:gd name="T89" fmla="*/ 48 h 94"/>
                <a:gd name="T90" fmla="*/ 20 w 94"/>
                <a:gd name="T91" fmla="*/ 58 h 94"/>
                <a:gd name="T92" fmla="*/ 26 w 94"/>
                <a:gd name="T93" fmla="*/ 68 h 94"/>
                <a:gd name="T94" fmla="*/ 34 w 94"/>
                <a:gd name="T95" fmla="*/ 74 h 94"/>
                <a:gd name="T96" fmla="*/ 46 w 94"/>
                <a:gd name="T97" fmla="*/ 76 h 94"/>
                <a:gd name="T98" fmla="*/ 46 w 94"/>
                <a:gd name="T99" fmla="*/ 76 h 94"/>
                <a:gd name="T100" fmla="*/ 58 w 94"/>
                <a:gd name="T101" fmla="*/ 74 h 94"/>
                <a:gd name="T102" fmla="*/ 66 w 94"/>
                <a:gd name="T103" fmla="*/ 68 h 94"/>
                <a:gd name="T104" fmla="*/ 72 w 94"/>
                <a:gd name="T105" fmla="*/ 58 h 94"/>
                <a:gd name="T106" fmla="*/ 76 w 94"/>
                <a:gd name="T107" fmla="*/ 48 h 94"/>
                <a:gd name="T108" fmla="*/ 76 w 94"/>
                <a:gd name="T109" fmla="*/ 48 h 94"/>
                <a:gd name="T110" fmla="*/ 72 w 94"/>
                <a:gd name="T111" fmla="*/ 36 h 94"/>
                <a:gd name="T112" fmla="*/ 66 w 94"/>
                <a:gd name="T113" fmla="*/ 26 h 94"/>
                <a:gd name="T114" fmla="*/ 58 w 94"/>
                <a:gd name="T115" fmla="*/ 20 h 94"/>
                <a:gd name="T116" fmla="*/ 46 w 94"/>
                <a:gd name="T117" fmla="*/ 18 h 94"/>
                <a:gd name="T118" fmla="*/ 46 w 94"/>
                <a:gd name="T11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94">
                  <a:moveTo>
                    <a:pt x="46" y="94"/>
                  </a:moveTo>
                  <a:lnTo>
                    <a:pt x="46" y="94"/>
                  </a:lnTo>
                  <a:lnTo>
                    <a:pt x="36" y="94"/>
                  </a:lnTo>
                  <a:lnTo>
                    <a:pt x="28" y="90"/>
                  </a:lnTo>
                  <a:lnTo>
                    <a:pt x="20" y="86"/>
                  </a:lnTo>
                  <a:lnTo>
                    <a:pt x="12" y="80"/>
                  </a:lnTo>
                  <a:lnTo>
                    <a:pt x="8" y="74"/>
                  </a:lnTo>
                  <a:lnTo>
                    <a:pt x="2" y="66"/>
                  </a:lnTo>
                  <a:lnTo>
                    <a:pt x="0" y="56"/>
                  </a:lnTo>
                  <a:lnTo>
                    <a:pt x="0" y="48"/>
                  </a:lnTo>
                  <a:lnTo>
                    <a:pt x="0" y="48"/>
                  </a:lnTo>
                  <a:lnTo>
                    <a:pt x="0" y="38"/>
                  </a:lnTo>
                  <a:lnTo>
                    <a:pt x="2" y="28"/>
                  </a:lnTo>
                  <a:lnTo>
                    <a:pt x="8" y="20"/>
                  </a:lnTo>
                  <a:lnTo>
                    <a:pt x="12" y="14"/>
                  </a:lnTo>
                  <a:lnTo>
                    <a:pt x="20" y="8"/>
                  </a:lnTo>
                  <a:lnTo>
                    <a:pt x="28" y="4"/>
                  </a:lnTo>
                  <a:lnTo>
                    <a:pt x="36" y="0"/>
                  </a:lnTo>
                  <a:lnTo>
                    <a:pt x="46" y="0"/>
                  </a:lnTo>
                  <a:lnTo>
                    <a:pt x="46" y="0"/>
                  </a:lnTo>
                  <a:lnTo>
                    <a:pt x="56" y="0"/>
                  </a:lnTo>
                  <a:lnTo>
                    <a:pt x="64" y="4"/>
                  </a:lnTo>
                  <a:lnTo>
                    <a:pt x="72" y="8"/>
                  </a:lnTo>
                  <a:lnTo>
                    <a:pt x="80" y="14"/>
                  </a:lnTo>
                  <a:lnTo>
                    <a:pt x="86" y="20"/>
                  </a:lnTo>
                  <a:lnTo>
                    <a:pt x="90" y="28"/>
                  </a:lnTo>
                  <a:lnTo>
                    <a:pt x="92" y="38"/>
                  </a:lnTo>
                  <a:lnTo>
                    <a:pt x="94" y="48"/>
                  </a:lnTo>
                  <a:lnTo>
                    <a:pt x="94" y="48"/>
                  </a:lnTo>
                  <a:lnTo>
                    <a:pt x="92" y="56"/>
                  </a:lnTo>
                  <a:lnTo>
                    <a:pt x="90" y="66"/>
                  </a:lnTo>
                  <a:lnTo>
                    <a:pt x="86" y="74"/>
                  </a:lnTo>
                  <a:lnTo>
                    <a:pt x="80" y="80"/>
                  </a:lnTo>
                  <a:lnTo>
                    <a:pt x="72" y="86"/>
                  </a:lnTo>
                  <a:lnTo>
                    <a:pt x="64" y="90"/>
                  </a:lnTo>
                  <a:lnTo>
                    <a:pt x="56" y="94"/>
                  </a:lnTo>
                  <a:lnTo>
                    <a:pt x="46" y="94"/>
                  </a:lnTo>
                  <a:lnTo>
                    <a:pt x="46" y="94"/>
                  </a:lnTo>
                  <a:close/>
                  <a:moveTo>
                    <a:pt x="46" y="18"/>
                  </a:moveTo>
                  <a:lnTo>
                    <a:pt x="46" y="18"/>
                  </a:lnTo>
                  <a:lnTo>
                    <a:pt x="34" y="20"/>
                  </a:lnTo>
                  <a:lnTo>
                    <a:pt x="26" y="26"/>
                  </a:lnTo>
                  <a:lnTo>
                    <a:pt x="20" y="36"/>
                  </a:lnTo>
                  <a:lnTo>
                    <a:pt x="18" y="48"/>
                  </a:lnTo>
                  <a:lnTo>
                    <a:pt x="18" y="48"/>
                  </a:lnTo>
                  <a:lnTo>
                    <a:pt x="20" y="58"/>
                  </a:lnTo>
                  <a:lnTo>
                    <a:pt x="26" y="68"/>
                  </a:lnTo>
                  <a:lnTo>
                    <a:pt x="34" y="74"/>
                  </a:lnTo>
                  <a:lnTo>
                    <a:pt x="46" y="76"/>
                  </a:lnTo>
                  <a:lnTo>
                    <a:pt x="46" y="76"/>
                  </a:lnTo>
                  <a:lnTo>
                    <a:pt x="58" y="74"/>
                  </a:lnTo>
                  <a:lnTo>
                    <a:pt x="66" y="68"/>
                  </a:lnTo>
                  <a:lnTo>
                    <a:pt x="72" y="58"/>
                  </a:lnTo>
                  <a:lnTo>
                    <a:pt x="76" y="48"/>
                  </a:lnTo>
                  <a:lnTo>
                    <a:pt x="76" y="48"/>
                  </a:lnTo>
                  <a:lnTo>
                    <a:pt x="72" y="36"/>
                  </a:lnTo>
                  <a:lnTo>
                    <a:pt x="66" y="26"/>
                  </a:lnTo>
                  <a:lnTo>
                    <a:pt x="58" y="20"/>
                  </a:lnTo>
                  <a:lnTo>
                    <a:pt x="46" y="18"/>
                  </a:lnTo>
                  <a:lnTo>
                    <a:pt x="4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4" name="Freeform 17">
              <a:extLst>
                <a:ext uri="{FF2B5EF4-FFF2-40B4-BE49-F238E27FC236}">
                  <a16:creationId xmlns:a16="http://schemas.microsoft.com/office/drawing/2014/main" id="{8F5A6BD9-0B39-0BEC-5A49-4E626D2CFB1C}"/>
                </a:ext>
              </a:extLst>
            </p:cNvPr>
            <p:cNvSpPr>
              <a:spLocks noEditPoints="1"/>
            </p:cNvSpPr>
            <p:nvPr/>
          </p:nvSpPr>
          <p:spPr bwMode="auto">
            <a:xfrm>
              <a:off x="1994" y="2272"/>
              <a:ext cx="94" cy="94"/>
            </a:xfrm>
            <a:custGeom>
              <a:avLst/>
              <a:gdLst>
                <a:gd name="T0" fmla="*/ 46 w 94"/>
                <a:gd name="T1" fmla="*/ 94 h 94"/>
                <a:gd name="T2" fmla="*/ 46 w 94"/>
                <a:gd name="T3" fmla="*/ 94 h 94"/>
                <a:gd name="T4" fmla="*/ 36 w 94"/>
                <a:gd name="T5" fmla="*/ 94 h 94"/>
                <a:gd name="T6" fmla="*/ 28 w 94"/>
                <a:gd name="T7" fmla="*/ 90 h 94"/>
                <a:gd name="T8" fmla="*/ 20 w 94"/>
                <a:gd name="T9" fmla="*/ 86 h 94"/>
                <a:gd name="T10" fmla="*/ 14 w 94"/>
                <a:gd name="T11" fmla="*/ 80 h 94"/>
                <a:gd name="T12" fmla="*/ 8 w 94"/>
                <a:gd name="T13" fmla="*/ 74 h 94"/>
                <a:gd name="T14" fmla="*/ 4 w 94"/>
                <a:gd name="T15" fmla="*/ 66 h 94"/>
                <a:gd name="T16" fmla="*/ 0 w 94"/>
                <a:gd name="T17" fmla="*/ 56 h 94"/>
                <a:gd name="T18" fmla="*/ 0 w 94"/>
                <a:gd name="T19" fmla="*/ 48 h 94"/>
                <a:gd name="T20" fmla="*/ 0 w 94"/>
                <a:gd name="T21" fmla="*/ 48 h 94"/>
                <a:gd name="T22" fmla="*/ 0 w 94"/>
                <a:gd name="T23" fmla="*/ 38 h 94"/>
                <a:gd name="T24" fmla="*/ 4 w 94"/>
                <a:gd name="T25" fmla="*/ 28 h 94"/>
                <a:gd name="T26" fmla="*/ 8 w 94"/>
                <a:gd name="T27" fmla="*/ 20 h 94"/>
                <a:gd name="T28" fmla="*/ 14 w 94"/>
                <a:gd name="T29" fmla="*/ 14 h 94"/>
                <a:gd name="T30" fmla="*/ 20 w 94"/>
                <a:gd name="T31" fmla="*/ 8 h 94"/>
                <a:gd name="T32" fmla="*/ 28 w 94"/>
                <a:gd name="T33" fmla="*/ 4 h 94"/>
                <a:gd name="T34" fmla="*/ 36 w 94"/>
                <a:gd name="T35" fmla="*/ 0 h 94"/>
                <a:gd name="T36" fmla="*/ 46 w 94"/>
                <a:gd name="T37" fmla="*/ 0 h 94"/>
                <a:gd name="T38" fmla="*/ 46 w 94"/>
                <a:gd name="T39" fmla="*/ 0 h 94"/>
                <a:gd name="T40" fmla="*/ 56 w 94"/>
                <a:gd name="T41" fmla="*/ 0 h 94"/>
                <a:gd name="T42" fmla="*/ 64 w 94"/>
                <a:gd name="T43" fmla="*/ 4 h 94"/>
                <a:gd name="T44" fmla="*/ 72 w 94"/>
                <a:gd name="T45" fmla="*/ 8 h 94"/>
                <a:gd name="T46" fmla="*/ 80 w 94"/>
                <a:gd name="T47" fmla="*/ 14 h 94"/>
                <a:gd name="T48" fmla="*/ 86 w 94"/>
                <a:gd name="T49" fmla="*/ 20 h 94"/>
                <a:gd name="T50" fmla="*/ 90 w 94"/>
                <a:gd name="T51" fmla="*/ 28 h 94"/>
                <a:gd name="T52" fmla="*/ 92 w 94"/>
                <a:gd name="T53" fmla="*/ 38 h 94"/>
                <a:gd name="T54" fmla="*/ 94 w 94"/>
                <a:gd name="T55" fmla="*/ 48 h 94"/>
                <a:gd name="T56" fmla="*/ 94 w 94"/>
                <a:gd name="T57" fmla="*/ 48 h 94"/>
                <a:gd name="T58" fmla="*/ 92 w 94"/>
                <a:gd name="T59" fmla="*/ 56 h 94"/>
                <a:gd name="T60" fmla="*/ 90 w 94"/>
                <a:gd name="T61" fmla="*/ 66 h 94"/>
                <a:gd name="T62" fmla="*/ 86 w 94"/>
                <a:gd name="T63" fmla="*/ 74 h 94"/>
                <a:gd name="T64" fmla="*/ 80 w 94"/>
                <a:gd name="T65" fmla="*/ 80 h 94"/>
                <a:gd name="T66" fmla="*/ 72 w 94"/>
                <a:gd name="T67" fmla="*/ 86 h 94"/>
                <a:gd name="T68" fmla="*/ 64 w 94"/>
                <a:gd name="T69" fmla="*/ 90 h 94"/>
                <a:gd name="T70" fmla="*/ 56 w 94"/>
                <a:gd name="T71" fmla="*/ 94 h 94"/>
                <a:gd name="T72" fmla="*/ 46 w 94"/>
                <a:gd name="T73" fmla="*/ 94 h 94"/>
                <a:gd name="T74" fmla="*/ 46 w 94"/>
                <a:gd name="T75" fmla="*/ 94 h 94"/>
                <a:gd name="T76" fmla="*/ 46 w 94"/>
                <a:gd name="T77" fmla="*/ 18 h 94"/>
                <a:gd name="T78" fmla="*/ 46 w 94"/>
                <a:gd name="T79" fmla="*/ 18 h 94"/>
                <a:gd name="T80" fmla="*/ 36 w 94"/>
                <a:gd name="T81" fmla="*/ 20 h 94"/>
                <a:gd name="T82" fmla="*/ 26 w 94"/>
                <a:gd name="T83" fmla="*/ 26 h 94"/>
                <a:gd name="T84" fmla="*/ 20 w 94"/>
                <a:gd name="T85" fmla="*/ 36 h 94"/>
                <a:gd name="T86" fmla="*/ 18 w 94"/>
                <a:gd name="T87" fmla="*/ 48 h 94"/>
                <a:gd name="T88" fmla="*/ 18 w 94"/>
                <a:gd name="T89" fmla="*/ 48 h 94"/>
                <a:gd name="T90" fmla="*/ 20 w 94"/>
                <a:gd name="T91" fmla="*/ 58 h 94"/>
                <a:gd name="T92" fmla="*/ 26 w 94"/>
                <a:gd name="T93" fmla="*/ 68 h 94"/>
                <a:gd name="T94" fmla="*/ 36 w 94"/>
                <a:gd name="T95" fmla="*/ 74 h 94"/>
                <a:gd name="T96" fmla="*/ 46 w 94"/>
                <a:gd name="T97" fmla="*/ 76 h 94"/>
                <a:gd name="T98" fmla="*/ 46 w 94"/>
                <a:gd name="T99" fmla="*/ 76 h 94"/>
                <a:gd name="T100" fmla="*/ 58 w 94"/>
                <a:gd name="T101" fmla="*/ 74 h 94"/>
                <a:gd name="T102" fmla="*/ 68 w 94"/>
                <a:gd name="T103" fmla="*/ 68 h 94"/>
                <a:gd name="T104" fmla="*/ 74 w 94"/>
                <a:gd name="T105" fmla="*/ 58 h 94"/>
                <a:gd name="T106" fmla="*/ 76 w 94"/>
                <a:gd name="T107" fmla="*/ 48 h 94"/>
                <a:gd name="T108" fmla="*/ 76 w 94"/>
                <a:gd name="T109" fmla="*/ 48 h 94"/>
                <a:gd name="T110" fmla="*/ 74 w 94"/>
                <a:gd name="T111" fmla="*/ 36 h 94"/>
                <a:gd name="T112" fmla="*/ 68 w 94"/>
                <a:gd name="T113" fmla="*/ 26 h 94"/>
                <a:gd name="T114" fmla="*/ 58 w 94"/>
                <a:gd name="T115" fmla="*/ 20 h 94"/>
                <a:gd name="T116" fmla="*/ 46 w 94"/>
                <a:gd name="T117" fmla="*/ 18 h 94"/>
                <a:gd name="T118" fmla="*/ 46 w 94"/>
                <a:gd name="T11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94">
                  <a:moveTo>
                    <a:pt x="46" y="94"/>
                  </a:moveTo>
                  <a:lnTo>
                    <a:pt x="46" y="94"/>
                  </a:lnTo>
                  <a:lnTo>
                    <a:pt x="36" y="94"/>
                  </a:lnTo>
                  <a:lnTo>
                    <a:pt x="28" y="90"/>
                  </a:lnTo>
                  <a:lnTo>
                    <a:pt x="20" y="86"/>
                  </a:lnTo>
                  <a:lnTo>
                    <a:pt x="14" y="80"/>
                  </a:lnTo>
                  <a:lnTo>
                    <a:pt x="8" y="74"/>
                  </a:lnTo>
                  <a:lnTo>
                    <a:pt x="4" y="66"/>
                  </a:lnTo>
                  <a:lnTo>
                    <a:pt x="0" y="56"/>
                  </a:lnTo>
                  <a:lnTo>
                    <a:pt x="0" y="48"/>
                  </a:lnTo>
                  <a:lnTo>
                    <a:pt x="0" y="48"/>
                  </a:lnTo>
                  <a:lnTo>
                    <a:pt x="0" y="38"/>
                  </a:lnTo>
                  <a:lnTo>
                    <a:pt x="4" y="28"/>
                  </a:lnTo>
                  <a:lnTo>
                    <a:pt x="8" y="20"/>
                  </a:lnTo>
                  <a:lnTo>
                    <a:pt x="14" y="14"/>
                  </a:lnTo>
                  <a:lnTo>
                    <a:pt x="20" y="8"/>
                  </a:lnTo>
                  <a:lnTo>
                    <a:pt x="28" y="4"/>
                  </a:lnTo>
                  <a:lnTo>
                    <a:pt x="36" y="0"/>
                  </a:lnTo>
                  <a:lnTo>
                    <a:pt x="46" y="0"/>
                  </a:lnTo>
                  <a:lnTo>
                    <a:pt x="46" y="0"/>
                  </a:lnTo>
                  <a:lnTo>
                    <a:pt x="56" y="0"/>
                  </a:lnTo>
                  <a:lnTo>
                    <a:pt x="64" y="4"/>
                  </a:lnTo>
                  <a:lnTo>
                    <a:pt x="72" y="8"/>
                  </a:lnTo>
                  <a:lnTo>
                    <a:pt x="80" y="14"/>
                  </a:lnTo>
                  <a:lnTo>
                    <a:pt x="86" y="20"/>
                  </a:lnTo>
                  <a:lnTo>
                    <a:pt x="90" y="28"/>
                  </a:lnTo>
                  <a:lnTo>
                    <a:pt x="92" y="38"/>
                  </a:lnTo>
                  <a:lnTo>
                    <a:pt x="94" y="48"/>
                  </a:lnTo>
                  <a:lnTo>
                    <a:pt x="94" y="48"/>
                  </a:lnTo>
                  <a:lnTo>
                    <a:pt x="92" y="56"/>
                  </a:lnTo>
                  <a:lnTo>
                    <a:pt x="90" y="66"/>
                  </a:lnTo>
                  <a:lnTo>
                    <a:pt x="86" y="74"/>
                  </a:lnTo>
                  <a:lnTo>
                    <a:pt x="80" y="80"/>
                  </a:lnTo>
                  <a:lnTo>
                    <a:pt x="72" y="86"/>
                  </a:lnTo>
                  <a:lnTo>
                    <a:pt x="64" y="90"/>
                  </a:lnTo>
                  <a:lnTo>
                    <a:pt x="56" y="94"/>
                  </a:lnTo>
                  <a:lnTo>
                    <a:pt x="46" y="94"/>
                  </a:lnTo>
                  <a:lnTo>
                    <a:pt x="46" y="94"/>
                  </a:lnTo>
                  <a:close/>
                  <a:moveTo>
                    <a:pt x="46" y="18"/>
                  </a:moveTo>
                  <a:lnTo>
                    <a:pt x="46" y="18"/>
                  </a:lnTo>
                  <a:lnTo>
                    <a:pt x="36" y="20"/>
                  </a:lnTo>
                  <a:lnTo>
                    <a:pt x="26" y="26"/>
                  </a:lnTo>
                  <a:lnTo>
                    <a:pt x="20" y="36"/>
                  </a:lnTo>
                  <a:lnTo>
                    <a:pt x="18" y="48"/>
                  </a:lnTo>
                  <a:lnTo>
                    <a:pt x="18" y="48"/>
                  </a:lnTo>
                  <a:lnTo>
                    <a:pt x="20" y="58"/>
                  </a:lnTo>
                  <a:lnTo>
                    <a:pt x="26" y="68"/>
                  </a:lnTo>
                  <a:lnTo>
                    <a:pt x="36" y="74"/>
                  </a:lnTo>
                  <a:lnTo>
                    <a:pt x="46" y="76"/>
                  </a:lnTo>
                  <a:lnTo>
                    <a:pt x="46" y="76"/>
                  </a:lnTo>
                  <a:lnTo>
                    <a:pt x="58" y="74"/>
                  </a:lnTo>
                  <a:lnTo>
                    <a:pt x="68" y="68"/>
                  </a:lnTo>
                  <a:lnTo>
                    <a:pt x="74" y="58"/>
                  </a:lnTo>
                  <a:lnTo>
                    <a:pt x="76" y="48"/>
                  </a:lnTo>
                  <a:lnTo>
                    <a:pt x="76" y="48"/>
                  </a:lnTo>
                  <a:lnTo>
                    <a:pt x="74" y="36"/>
                  </a:lnTo>
                  <a:lnTo>
                    <a:pt x="68" y="26"/>
                  </a:lnTo>
                  <a:lnTo>
                    <a:pt x="58" y="20"/>
                  </a:lnTo>
                  <a:lnTo>
                    <a:pt x="46" y="18"/>
                  </a:lnTo>
                  <a:lnTo>
                    <a:pt x="4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5" name="Freeform 18">
              <a:extLst>
                <a:ext uri="{FF2B5EF4-FFF2-40B4-BE49-F238E27FC236}">
                  <a16:creationId xmlns:a16="http://schemas.microsoft.com/office/drawing/2014/main" id="{C11CFB9A-D6FA-8D60-DAD1-C0EC4B26E908}"/>
                </a:ext>
              </a:extLst>
            </p:cNvPr>
            <p:cNvSpPr>
              <a:spLocks/>
            </p:cNvSpPr>
            <p:nvPr/>
          </p:nvSpPr>
          <p:spPr bwMode="auto">
            <a:xfrm>
              <a:off x="1904" y="2162"/>
              <a:ext cx="98" cy="98"/>
            </a:xfrm>
            <a:custGeom>
              <a:avLst/>
              <a:gdLst>
                <a:gd name="T0" fmla="*/ 18 w 98"/>
                <a:gd name="T1" fmla="*/ 98 h 98"/>
                <a:gd name="T2" fmla="*/ 0 w 98"/>
                <a:gd name="T3" fmla="*/ 98 h 98"/>
                <a:gd name="T4" fmla="*/ 0 w 98"/>
                <a:gd name="T5" fmla="*/ 0 h 98"/>
                <a:gd name="T6" fmla="*/ 98 w 98"/>
                <a:gd name="T7" fmla="*/ 0 h 98"/>
                <a:gd name="T8" fmla="*/ 98 w 98"/>
                <a:gd name="T9" fmla="*/ 18 h 98"/>
                <a:gd name="T10" fmla="*/ 18 w 98"/>
                <a:gd name="T11" fmla="*/ 18 h 98"/>
                <a:gd name="T12" fmla="*/ 18 w 9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98" h="98">
                  <a:moveTo>
                    <a:pt x="18" y="98"/>
                  </a:moveTo>
                  <a:lnTo>
                    <a:pt x="0" y="98"/>
                  </a:lnTo>
                  <a:lnTo>
                    <a:pt x="0" y="0"/>
                  </a:lnTo>
                  <a:lnTo>
                    <a:pt x="98" y="0"/>
                  </a:lnTo>
                  <a:lnTo>
                    <a:pt x="98" y="18"/>
                  </a:lnTo>
                  <a:lnTo>
                    <a:pt x="18" y="18"/>
                  </a:lnTo>
                  <a:lnTo>
                    <a:pt x="1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6" name="Freeform 19">
              <a:extLst>
                <a:ext uri="{FF2B5EF4-FFF2-40B4-BE49-F238E27FC236}">
                  <a16:creationId xmlns:a16="http://schemas.microsoft.com/office/drawing/2014/main" id="{790AEBD9-351C-E636-A175-E6111E7F122D}"/>
                </a:ext>
              </a:extLst>
            </p:cNvPr>
            <p:cNvSpPr>
              <a:spLocks/>
            </p:cNvSpPr>
            <p:nvPr/>
          </p:nvSpPr>
          <p:spPr bwMode="auto">
            <a:xfrm>
              <a:off x="1904" y="2378"/>
              <a:ext cx="98" cy="98"/>
            </a:xfrm>
            <a:custGeom>
              <a:avLst/>
              <a:gdLst>
                <a:gd name="T0" fmla="*/ 98 w 98"/>
                <a:gd name="T1" fmla="*/ 98 h 98"/>
                <a:gd name="T2" fmla="*/ 0 w 98"/>
                <a:gd name="T3" fmla="*/ 98 h 98"/>
                <a:gd name="T4" fmla="*/ 0 w 98"/>
                <a:gd name="T5" fmla="*/ 0 h 98"/>
                <a:gd name="T6" fmla="*/ 18 w 98"/>
                <a:gd name="T7" fmla="*/ 0 h 98"/>
                <a:gd name="T8" fmla="*/ 18 w 98"/>
                <a:gd name="T9" fmla="*/ 80 h 98"/>
                <a:gd name="T10" fmla="*/ 98 w 98"/>
                <a:gd name="T11" fmla="*/ 80 h 98"/>
                <a:gd name="T12" fmla="*/ 98 w 9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98" h="98">
                  <a:moveTo>
                    <a:pt x="98" y="98"/>
                  </a:moveTo>
                  <a:lnTo>
                    <a:pt x="0" y="98"/>
                  </a:lnTo>
                  <a:lnTo>
                    <a:pt x="0" y="0"/>
                  </a:lnTo>
                  <a:lnTo>
                    <a:pt x="18" y="0"/>
                  </a:lnTo>
                  <a:lnTo>
                    <a:pt x="18" y="80"/>
                  </a:lnTo>
                  <a:lnTo>
                    <a:pt x="98" y="80"/>
                  </a:lnTo>
                  <a:lnTo>
                    <a:pt x="9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7" name="Freeform 20">
              <a:extLst>
                <a:ext uri="{FF2B5EF4-FFF2-40B4-BE49-F238E27FC236}">
                  <a16:creationId xmlns:a16="http://schemas.microsoft.com/office/drawing/2014/main" id="{A3C2D42F-4849-ED4E-4932-CD618042B8A7}"/>
                </a:ext>
              </a:extLst>
            </p:cNvPr>
            <p:cNvSpPr>
              <a:spLocks/>
            </p:cNvSpPr>
            <p:nvPr/>
          </p:nvSpPr>
          <p:spPr bwMode="auto">
            <a:xfrm>
              <a:off x="2496" y="2162"/>
              <a:ext cx="98" cy="98"/>
            </a:xfrm>
            <a:custGeom>
              <a:avLst/>
              <a:gdLst>
                <a:gd name="T0" fmla="*/ 98 w 98"/>
                <a:gd name="T1" fmla="*/ 98 h 98"/>
                <a:gd name="T2" fmla="*/ 80 w 98"/>
                <a:gd name="T3" fmla="*/ 98 h 98"/>
                <a:gd name="T4" fmla="*/ 80 w 98"/>
                <a:gd name="T5" fmla="*/ 18 h 98"/>
                <a:gd name="T6" fmla="*/ 0 w 98"/>
                <a:gd name="T7" fmla="*/ 18 h 98"/>
                <a:gd name="T8" fmla="*/ 0 w 98"/>
                <a:gd name="T9" fmla="*/ 0 h 98"/>
                <a:gd name="T10" fmla="*/ 98 w 98"/>
                <a:gd name="T11" fmla="*/ 0 h 98"/>
                <a:gd name="T12" fmla="*/ 98 w 9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98" h="98">
                  <a:moveTo>
                    <a:pt x="98" y="98"/>
                  </a:moveTo>
                  <a:lnTo>
                    <a:pt x="80" y="98"/>
                  </a:lnTo>
                  <a:lnTo>
                    <a:pt x="80" y="18"/>
                  </a:lnTo>
                  <a:lnTo>
                    <a:pt x="0" y="18"/>
                  </a:lnTo>
                  <a:lnTo>
                    <a:pt x="0" y="0"/>
                  </a:lnTo>
                  <a:lnTo>
                    <a:pt x="98" y="0"/>
                  </a:lnTo>
                  <a:lnTo>
                    <a:pt x="9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148" name="Freeform 21">
              <a:extLst>
                <a:ext uri="{FF2B5EF4-FFF2-40B4-BE49-F238E27FC236}">
                  <a16:creationId xmlns:a16="http://schemas.microsoft.com/office/drawing/2014/main" id="{5D170110-83B8-049B-62F4-EAF7061CDA41}"/>
                </a:ext>
              </a:extLst>
            </p:cNvPr>
            <p:cNvSpPr>
              <a:spLocks/>
            </p:cNvSpPr>
            <p:nvPr/>
          </p:nvSpPr>
          <p:spPr bwMode="auto">
            <a:xfrm>
              <a:off x="2496" y="2378"/>
              <a:ext cx="98" cy="98"/>
            </a:xfrm>
            <a:custGeom>
              <a:avLst/>
              <a:gdLst>
                <a:gd name="T0" fmla="*/ 98 w 98"/>
                <a:gd name="T1" fmla="*/ 98 h 98"/>
                <a:gd name="T2" fmla="*/ 0 w 98"/>
                <a:gd name="T3" fmla="*/ 98 h 98"/>
                <a:gd name="T4" fmla="*/ 0 w 98"/>
                <a:gd name="T5" fmla="*/ 80 h 98"/>
                <a:gd name="T6" fmla="*/ 80 w 98"/>
                <a:gd name="T7" fmla="*/ 80 h 98"/>
                <a:gd name="T8" fmla="*/ 80 w 98"/>
                <a:gd name="T9" fmla="*/ 0 h 98"/>
                <a:gd name="T10" fmla="*/ 98 w 98"/>
                <a:gd name="T11" fmla="*/ 0 h 98"/>
                <a:gd name="T12" fmla="*/ 98 w 9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98" h="98">
                  <a:moveTo>
                    <a:pt x="98" y="98"/>
                  </a:moveTo>
                  <a:lnTo>
                    <a:pt x="0" y="98"/>
                  </a:lnTo>
                  <a:lnTo>
                    <a:pt x="0" y="80"/>
                  </a:lnTo>
                  <a:lnTo>
                    <a:pt x="80" y="80"/>
                  </a:lnTo>
                  <a:lnTo>
                    <a:pt x="80" y="0"/>
                  </a:lnTo>
                  <a:lnTo>
                    <a:pt x="98" y="0"/>
                  </a:lnTo>
                  <a:lnTo>
                    <a:pt x="9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spTree>
    <p:extLst>
      <p:ext uri="{BB962C8B-B14F-4D97-AF65-F5344CB8AC3E}">
        <p14:creationId xmlns:p14="http://schemas.microsoft.com/office/powerpoint/2010/main" val="39607867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12C19906-6BCC-AA39-43A1-6ED5559EAB92}"/>
              </a:ext>
            </a:extLst>
          </p:cNvPr>
          <p:cNvSpPr/>
          <p:nvPr/>
        </p:nvSpPr>
        <p:spPr>
          <a:xfrm>
            <a:off x="10779" y="-10946"/>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ángulo 3">
            <a:extLst>
              <a:ext uri="{FF2B5EF4-FFF2-40B4-BE49-F238E27FC236}">
                <a16:creationId xmlns:a16="http://schemas.microsoft.com/office/drawing/2014/main" id="{665E4FA9-B84B-2D90-119F-7C0120B5D746}"/>
              </a:ext>
            </a:extLst>
          </p:cNvPr>
          <p:cNvSpPr/>
          <p:nvPr/>
        </p:nvSpPr>
        <p:spPr>
          <a:xfrm>
            <a:off x="-92" y="0"/>
            <a:ext cx="3454492" cy="6858000"/>
          </a:xfrm>
          <a:prstGeom prst="rect">
            <a:avLst/>
          </a:prstGeom>
          <a:gradFill flip="none" rotWithShape="1">
            <a:gsLst>
              <a:gs pos="1000">
                <a:srgbClr val="525C9C"/>
              </a:gs>
              <a:gs pos="100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1" name="CuadroTexto 30">
            <a:extLst>
              <a:ext uri="{FF2B5EF4-FFF2-40B4-BE49-F238E27FC236}">
                <a16:creationId xmlns:a16="http://schemas.microsoft.com/office/drawing/2014/main" id="{EB870A7C-8232-EFE9-51DE-70F37EE9E6DD}"/>
              </a:ext>
            </a:extLst>
          </p:cNvPr>
          <p:cNvSpPr txBox="1"/>
          <p:nvPr/>
        </p:nvSpPr>
        <p:spPr>
          <a:xfrm>
            <a:off x="498978" y="497305"/>
            <a:ext cx="2592566" cy="1037720"/>
          </a:xfrm>
          <a:prstGeom prst="rect">
            <a:avLst/>
          </a:prstGeom>
          <a:noFill/>
        </p:spPr>
        <p:txBody>
          <a:bodyPr wrap="square" rtlCol="0">
            <a:spAutoFit/>
          </a:bodyPr>
          <a:lstStyle/>
          <a:p>
            <a:pPr>
              <a:lnSpc>
                <a:spcPct val="115000"/>
              </a:lnSpc>
              <a:spcAft>
                <a:spcPts val="800"/>
              </a:spcAft>
            </a:pP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Riesgo Climático</a:t>
            </a:r>
          </a:p>
        </p:txBody>
      </p:sp>
      <p:sp>
        <p:nvSpPr>
          <p:cNvPr id="38" name="Rectángulo redondeado 37">
            <a:extLst>
              <a:ext uri="{FF2B5EF4-FFF2-40B4-BE49-F238E27FC236}">
                <a16:creationId xmlns:a16="http://schemas.microsoft.com/office/drawing/2014/main" id="{9BDEED62-2D95-72B9-62AA-37B1BB16EB16}"/>
              </a:ext>
            </a:extLst>
          </p:cNvPr>
          <p:cNvSpPr/>
          <p:nvPr/>
        </p:nvSpPr>
        <p:spPr>
          <a:xfrm rot="18900000">
            <a:off x="603160" y="4653067"/>
            <a:ext cx="1392919" cy="231626"/>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39" name="Rectángulo redondeado 38">
            <a:extLst>
              <a:ext uri="{FF2B5EF4-FFF2-40B4-BE49-F238E27FC236}">
                <a16:creationId xmlns:a16="http://schemas.microsoft.com/office/drawing/2014/main" id="{123E81C3-C413-2F6A-0182-2D76F36B7E41}"/>
              </a:ext>
            </a:extLst>
          </p:cNvPr>
          <p:cNvSpPr/>
          <p:nvPr/>
        </p:nvSpPr>
        <p:spPr>
          <a:xfrm rot="18900000">
            <a:off x="-553587" y="5865140"/>
            <a:ext cx="3139517" cy="522064"/>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1" name="Rectángulo redondeado 40">
            <a:extLst>
              <a:ext uri="{FF2B5EF4-FFF2-40B4-BE49-F238E27FC236}">
                <a16:creationId xmlns:a16="http://schemas.microsoft.com/office/drawing/2014/main" id="{4CA86883-EDD1-22BB-71BF-6A5984F72F45}"/>
              </a:ext>
            </a:extLst>
          </p:cNvPr>
          <p:cNvSpPr/>
          <p:nvPr/>
        </p:nvSpPr>
        <p:spPr>
          <a:xfrm rot="18900000">
            <a:off x="10204017" y="6174626"/>
            <a:ext cx="2525453" cy="419953"/>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2" name="Imagen 41">
            <a:extLst>
              <a:ext uri="{FF2B5EF4-FFF2-40B4-BE49-F238E27FC236}">
                <a16:creationId xmlns:a16="http://schemas.microsoft.com/office/drawing/2014/main" id="{DA12AB53-1FD4-C62F-62AC-4CADD70AB1BF}"/>
              </a:ext>
            </a:extLst>
          </p:cNvPr>
          <p:cNvPicPr>
            <a:picLocks noChangeAspect="1"/>
          </p:cNvPicPr>
          <p:nvPr/>
        </p:nvPicPr>
        <p:blipFill>
          <a:blip r:embed="rId3"/>
          <a:stretch>
            <a:fillRect/>
          </a:stretch>
        </p:blipFill>
        <p:spPr>
          <a:xfrm>
            <a:off x="-221175" y="3716338"/>
            <a:ext cx="822431" cy="813492"/>
          </a:xfrm>
          <a:prstGeom prst="rect">
            <a:avLst/>
          </a:prstGeom>
        </p:spPr>
      </p:pic>
      <p:sp>
        <p:nvSpPr>
          <p:cNvPr id="43" name="Rectángulo redondeado 42">
            <a:extLst>
              <a:ext uri="{FF2B5EF4-FFF2-40B4-BE49-F238E27FC236}">
                <a16:creationId xmlns:a16="http://schemas.microsoft.com/office/drawing/2014/main" id="{9873F54A-D9D8-BBFE-16E3-041E131798DC}"/>
              </a:ext>
            </a:extLst>
          </p:cNvPr>
          <p:cNvSpPr/>
          <p:nvPr/>
        </p:nvSpPr>
        <p:spPr>
          <a:xfrm>
            <a:off x="2219778" y="4362134"/>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2" name="TextBox 1">
            <a:extLst>
              <a:ext uri="{FF2B5EF4-FFF2-40B4-BE49-F238E27FC236}">
                <a16:creationId xmlns:a16="http://schemas.microsoft.com/office/drawing/2014/main" id="{E85D9CDF-B0CA-66EC-A715-FF8191778EE2}"/>
              </a:ext>
            </a:extLst>
          </p:cNvPr>
          <p:cNvSpPr txBox="1"/>
          <p:nvPr/>
        </p:nvSpPr>
        <p:spPr>
          <a:xfrm>
            <a:off x="524507" y="1458273"/>
            <a:ext cx="2924307" cy="3108543"/>
          </a:xfrm>
          <a:prstGeom prst="rect">
            <a:avLst/>
          </a:prstGeom>
          <a:noFill/>
        </p:spPr>
        <p:txBody>
          <a:bodyPr wrap="square">
            <a:spAutoFit/>
          </a:bodyPr>
          <a:lstStyle/>
          <a:p>
            <a:pPr marL="0" marR="0" lvl="0" indent="0" algn="just" defTabSz="913029" eaLnBrk="1" fontAlgn="auto" latinLnBrk="0" hangingPunct="1">
              <a:lnSpc>
                <a:spcPct val="100000"/>
              </a:lnSpc>
              <a:spcBef>
                <a:spcPts val="600"/>
              </a:spcBef>
              <a:spcAft>
                <a:spcPts val="0"/>
              </a:spcAft>
              <a:buClr>
                <a:srgbClr val="FFE600"/>
              </a:buClr>
              <a:buSzPct val="100000"/>
              <a:buFontTx/>
              <a:buNone/>
              <a:tabLst/>
              <a:defRPr/>
            </a:pP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Riesgos potenciales que pueden surgir del cambio climático o de los esfuerzos para mitigarlo, junto con sus consecuencias económicas y financieras. Estos riesgos se dividen principalmente en dos categorías: los riesgos físicos, derivados de eventos climáticos extremos, y los riesgos de transición, que provienen del cambio hacia una economía baja en carbono</a:t>
            </a:r>
          </a:p>
        </p:txBody>
      </p:sp>
      <p:pic>
        <p:nvPicPr>
          <p:cNvPr id="3" name="Picture 2">
            <a:extLst>
              <a:ext uri="{FF2B5EF4-FFF2-40B4-BE49-F238E27FC236}">
                <a16:creationId xmlns:a16="http://schemas.microsoft.com/office/drawing/2014/main" id="{F1210C1B-1A9C-0694-0D25-E8A8313FD6F3}"/>
              </a:ext>
            </a:extLst>
          </p:cNvPr>
          <p:cNvPicPr>
            <a:picLocks noChangeAspect="1"/>
          </p:cNvPicPr>
          <p:nvPr/>
        </p:nvPicPr>
        <p:blipFill>
          <a:blip r:embed="rId4">
            <a:duotone>
              <a:prstClr val="black"/>
              <a:schemeClr val="accent3">
                <a:tint val="45000"/>
                <a:satMod val="400000"/>
              </a:schemeClr>
            </a:duotone>
            <a:alphaModFix amt="20000"/>
          </a:blip>
          <a:stretch>
            <a:fillRect/>
          </a:stretch>
        </p:blipFill>
        <p:spPr>
          <a:xfrm>
            <a:off x="3628997" y="1451477"/>
            <a:ext cx="8086116" cy="4675003"/>
          </a:xfrm>
          <a:prstGeom prst="roundRect">
            <a:avLst>
              <a:gd name="adj" fmla="val 10813"/>
            </a:avLst>
          </a:prstGeom>
          <a:effectLst>
            <a:outerShdw blurRad="76200" dir="18900000" sy="23000" kx="-1200000" algn="bl" rotWithShape="0">
              <a:prstClr val="black">
                <a:alpha val="20000"/>
              </a:prstClr>
            </a:outerShdw>
          </a:effectLst>
        </p:spPr>
      </p:pic>
      <p:sp>
        <p:nvSpPr>
          <p:cNvPr id="5" name="Rectangle: Rounded Corners 4">
            <a:extLst>
              <a:ext uri="{FF2B5EF4-FFF2-40B4-BE49-F238E27FC236}">
                <a16:creationId xmlns:a16="http://schemas.microsoft.com/office/drawing/2014/main" id="{8DBE3A9C-7C04-27FF-3B5F-528EAA45D2C8}"/>
              </a:ext>
            </a:extLst>
          </p:cNvPr>
          <p:cNvSpPr/>
          <p:nvPr/>
        </p:nvSpPr>
        <p:spPr>
          <a:xfrm>
            <a:off x="7850848" y="3163705"/>
            <a:ext cx="3939186" cy="2020824"/>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182880" tIns="457200" rIns="182880" bIns="91440" rtlCol="0" anchor="t" anchorCtr="0"/>
          <a:lstStyle/>
          <a:p>
            <a:pPr>
              <a:spcAft>
                <a:spcPts val="300"/>
              </a:spcAft>
              <a:buClr>
                <a:srgbClr val="747480"/>
              </a:buClr>
              <a:defRPr/>
            </a:pPr>
            <a:r>
              <a:rPr lang="en-US" sz="1200" kern="0" dirty="0">
                <a:latin typeface="Century Gothic" panose="020B0502020202020204" pitchFamily="34" charset="0"/>
              </a:rPr>
              <a:t> </a:t>
            </a:r>
          </a:p>
          <a:p>
            <a:pPr algn="just">
              <a:spcAft>
                <a:spcPts val="300"/>
              </a:spcAft>
              <a:buClr>
                <a:srgbClr val="747480"/>
              </a:buClr>
              <a:defRPr/>
            </a:pPr>
            <a:r>
              <a:rPr lang="es-MX" sz="1400" kern="0" dirty="0">
                <a:latin typeface="Century Gothic" panose="020B0502020202020204" pitchFamily="34" charset="0"/>
              </a:rPr>
              <a:t>Este riesgo está vinculado a la transición hacia una economía descarbonizada. Abarca los riesgos regulatorios, la dinámica del mercado, la obsolescencia tecnológica y los cambios en las expectativas de los inversores, factores que impactan la capacidad de pago de los clientes/acreditados.</a:t>
            </a:r>
          </a:p>
        </p:txBody>
      </p:sp>
      <p:sp>
        <p:nvSpPr>
          <p:cNvPr id="6" name="Rectangle: Rounded Corners 5">
            <a:extLst>
              <a:ext uri="{FF2B5EF4-FFF2-40B4-BE49-F238E27FC236}">
                <a16:creationId xmlns:a16="http://schemas.microsoft.com/office/drawing/2014/main" id="{75BCBB59-8BBE-9BAA-E675-C09286A5ECCF}"/>
              </a:ext>
            </a:extLst>
          </p:cNvPr>
          <p:cNvSpPr/>
          <p:nvPr/>
        </p:nvSpPr>
        <p:spPr>
          <a:xfrm>
            <a:off x="3601578" y="3111199"/>
            <a:ext cx="4217655" cy="2020824"/>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182880" tIns="457200" rIns="182880" bIns="91440" rtlCol="0" anchor="t" anchorCtr="0"/>
          <a:lstStyle/>
          <a:p>
            <a:pPr marL="171450" marR="0" lvl="0" indent="-171450" defTabSz="914400" eaLnBrk="1" fontAlgn="auto" latinLnBrk="0" hangingPunct="1">
              <a:lnSpc>
                <a:spcPct val="100000"/>
              </a:lnSpc>
              <a:spcBef>
                <a:spcPts val="0"/>
              </a:spcBef>
              <a:spcAft>
                <a:spcPts val="300"/>
              </a:spcAft>
              <a:buClr>
                <a:srgbClr val="747480"/>
              </a:buClr>
              <a:buSzTx/>
              <a:buFont typeface="EYInterstate" panose="02000503020000020004" pitchFamily="2" charset="0"/>
              <a:buChar char="•"/>
              <a:tabLst/>
              <a:defRPr/>
            </a:pPr>
            <a:endParaRPr kumimoji="0" lang="es-MX" sz="1400" i="0" u="none" strike="noStrike" kern="0" cap="none" spc="0" normalizeH="0" baseline="0" noProof="0" dirty="0">
              <a:ln>
                <a:noFill/>
              </a:ln>
              <a:solidFill>
                <a:schemeClr val="bg1"/>
              </a:solidFill>
              <a:effectLst/>
              <a:uLnTx/>
              <a:uFillTx/>
              <a:latin typeface="Century Gothic" panose="020B0502020202020204" pitchFamily="34" charset="0"/>
            </a:endParaRPr>
          </a:p>
          <a:p>
            <a:pPr algn="just">
              <a:spcAft>
                <a:spcPts val="300"/>
              </a:spcAft>
              <a:buClr>
                <a:srgbClr val="747480"/>
              </a:buClr>
              <a:defRPr/>
            </a:pPr>
            <a:r>
              <a:rPr lang="es-MX" sz="1400" kern="0" dirty="0">
                <a:latin typeface="Century Gothic" panose="020B0502020202020204" pitchFamily="34" charset="0"/>
              </a:rPr>
              <a:t>Surge resultado del impacto directo del cambio climático en activos físicos o garantías. Se manifiesta de forma aguda, a través de eventos extremos y repentinos (como incendios, olas de calor y tormentas), o de manera crónica, por medio de cambios graduales y a largo plazo (por ejemplo, el aumento del nivel del mar y las variaciones en los patrones climáticos).</a:t>
            </a:r>
            <a:endParaRPr lang="en-US" sz="1400" kern="0" dirty="0">
              <a:latin typeface="Century Gothic" panose="020B0502020202020204" pitchFamily="34" charset="0"/>
            </a:endParaRPr>
          </a:p>
        </p:txBody>
      </p:sp>
      <p:sp>
        <p:nvSpPr>
          <p:cNvPr id="22" name="Rectangle: Rounded Corners 21">
            <a:extLst>
              <a:ext uri="{FF2B5EF4-FFF2-40B4-BE49-F238E27FC236}">
                <a16:creationId xmlns:a16="http://schemas.microsoft.com/office/drawing/2014/main" id="{6BC3A5B8-81E1-E8D4-8AA2-0E0C5EF8D82B}"/>
              </a:ext>
            </a:extLst>
          </p:cNvPr>
          <p:cNvSpPr/>
          <p:nvPr/>
        </p:nvSpPr>
        <p:spPr>
          <a:xfrm>
            <a:off x="4472161" y="1610192"/>
            <a:ext cx="1913832" cy="591769"/>
          </a:xfrm>
          <a:prstGeom prst="roundRect">
            <a:avLst>
              <a:gd name="adj" fmla="val 50000"/>
            </a:avLst>
          </a:prstGeom>
          <a:solidFill>
            <a:srgbClr val="5F2364"/>
          </a:solidFill>
          <a:ln w="9525" cap="flat" cmpd="sng" algn="ctr">
            <a:solidFill>
              <a:schemeClr val="tx1"/>
            </a:solidFill>
            <a:prstDash val="solid"/>
          </a:ln>
          <a:effectLst>
            <a:outerShdw blurRad="50800" dist="38100" dir="2700000" algn="tl" rotWithShape="0">
              <a:prstClr val="black">
                <a:alpha val="40000"/>
              </a:prstClr>
            </a:outerShdw>
          </a:effectLst>
        </p:spPr>
        <p:txBody>
          <a:bodyPr tIns="27432" rtlCol="0" anchor="ctr" anchorCtr="0"/>
          <a:lstStyle/>
          <a:p>
            <a:pPr marL="0" marR="0" lvl="0" indent="0" algn="ctr" defTabSz="886796"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dirty="0">
                <a:ln>
                  <a:noFill/>
                </a:ln>
                <a:solidFill>
                  <a:schemeClr val="bg1"/>
                </a:solidFill>
                <a:effectLst/>
                <a:uLnTx/>
                <a:uFillTx/>
                <a:latin typeface="Century Gothic" panose="020B0502020202020204" pitchFamily="34" charset="0"/>
              </a:rPr>
              <a:t>Riesgo Físico </a:t>
            </a:r>
          </a:p>
        </p:txBody>
      </p:sp>
      <p:sp>
        <p:nvSpPr>
          <p:cNvPr id="23" name="Rectangle: Rounded Corners 22">
            <a:extLst>
              <a:ext uri="{FF2B5EF4-FFF2-40B4-BE49-F238E27FC236}">
                <a16:creationId xmlns:a16="http://schemas.microsoft.com/office/drawing/2014/main" id="{359D2952-1FAD-AB9F-C1C6-B08FA20D5FEF}"/>
              </a:ext>
            </a:extLst>
          </p:cNvPr>
          <p:cNvSpPr/>
          <p:nvPr/>
        </p:nvSpPr>
        <p:spPr>
          <a:xfrm>
            <a:off x="8777934" y="1625560"/>
            <a:ext cx="1913832" cy="591769"/>
          </a:xfrm>
          <a:prstGeom prst="roundRect">
            <a:avLst>
              <a:gd name="adj" fmla="val 50000"/>
            </a:avLst>
          </a:prstGeom>
          <a:solidFill>
            <a:srgbClr val="5F2364"/>
          </a:solidFill>
          <a:ln w="9525" cap="flat" cmpd="sng" algn="ctr">
            <a:solidFill>
              <a:schemeClr val="tx1"/>
            </a:solidFill>
            <a:prstDash val="solid"/>
          </a:ln>
          <a:effectLst>
            <a:outerShdw blurRad="50800" dist="38100" dir="2700000" algn="tl" rotWithShape="0">
              <a:prstClr val="black">
                <a:alpha val="40000"/>
              </a:prstClr>
            </a:outerShdw>
          </a:effectLst>
        </p:spPr>
        <p:txBody>
          <a:bodyPr tIns="27432" rtlCol="0" anchor="ctr" anchorCtr="0"/>
          <a:lstStyle/>
          <a:p>
            <a:pPr marL="0" marR="0" lvl="0" indent="0" algn="ctr" defTabSz="886796"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dirty="0">
                <a:ln>
                  <a:noFill/>
                </a:ln>
                <a:solidFill>
                  <a:schemeClr val="bg1"/>
                </a:solidFill>
                <a:effectLst/>
                <a:uLnTx/>
                <a:uFillTx/>
                <a:latin typeface="Century Gothic" panose="020B0502020202020204" pitchFamily="34" charset="0"/>
              </a:rPr>
              <a:t>Riesgo de Transición</a:t>
            </a:r>
          </a:p>
        </p:txBody>
      </p:sp>
      <p:cxnSp>
        <p:nvCxnSpPr>
          <p:cNvPr id="24" name="Straight Connector 23">
            <a:extLst>
              <a:ext uri="{FF2B5EF4-FFF2-40B4-BE49-F238E27FC236}">
                <a16:creationId xmlns:a16="http://schemas.microsoft.com/office/drawing/2014/main" id="{2C03BDB2-C99E-7E3D-1B0F-61541E6ECD55}"/>
              </a:ext>
            </a:extLst>
          </p:cNvPr>
          <p:cNvCxnSpPr>
            <a:cxnSpLocks/>
            <a:stCxn id="22" idx="3"/>
            <a:endCxn id="23" idx="1"/>
          </p:cNvCxnSpPr>
          <p:nvPr/>
        </p:nvCxnSpPr>
        <p:spPr>
          <a:xfrm>
            <a:off x="6385993" y="1906077"/>
            <a:ext cx="2391941" cy="15368"/>
          </a:xfrm>
          <a:prstGeom prst="line">
            <a:avLst/>
          </a:prstGeom>
          <a:ln w="57150">
            <a:solidFill>
              <a:srgbClr val="5F2364"/>
            </a:solidFill>
          </a:ln>
        </p:spPr>
        <p:style>
          <a:lnRef idx="2">
            <a:schemeClr val="accent1"/>
          </a:lnRef>
          <a:fillRef idx="0">
            <a:schemeClr val="accent1"/>
          </a:fillRef>
          <a:effectRef idx="1">
            <a:schemeClr val="accent1"/>
          </a:effectRef>
          <a:fontRef idx="minor">
            <a:schemeClr val="tx1"/>
          </a:fontRef>
        </p:style>
      </p:cxnSp>
      <p:grpSp>
        <p:nvGrpSpPr>
          <p:cNvPr id="68" name="Group 67">
            <a:extLst>
              <a:ext uri="{FF2B5EF4-FFF2-40B4-BE49-F238E27FC236}">
                <a16:creationId xmlns:a16="http://schemas.microsoft.com/office/drawing/2014/main" id="{73E10DFD-6614-9A73-8987-3D75F79BF8FA}"/>
              </a:ext>
            </a:extLst>
          </p:cNvPr>
          <p:cNvGrpSpPr/>
          <p:nvPr/>
        </p:nvGrpSpPr>
        <p:grpSpPr>
          <a:xfrm>
            <a:off x="4884496" y="2384930"/>
            <a:ext cx="1316547" cy="1311259"/>
            <a:chOff x="13181999" y="3063798"/>
            <a:chExt cx="1110316" cy="1107120"/>
          </a:xfrm>
        </p:grpSpPr>
        <p:sp>
          <p:nvSpPr>
            <p:cNvPr id="69" name="Oval 68">
              <a:extLst>
                <a:ext uri="{FF2B5EF4-FFF2-40B4-BE49-F238E27FC236}">
                  <a16:creationId xmlns:a16="http://schemas.microsoft.com/office/drawing/2014/main" id="{E3446062-E3C4-A66B-1E0B-95D607AA9FDC}"/>
                </a:ext>
              </a:extLst>
            </p:cNvPr>
            <p:cNvSpPr/>
            <p:nvPr/>
          </p:nvSpPr>
          <p:spPr>
            <a:xfrm>
              <a:off x="13316312" y="3203062"/>
              <a:ext cx="840994" cy="840995"/>
            </a:xfrm>
            <a:prstGeom prst="ellipse">
              <a:avLst/>
            </a:prstGeom>
            <a:solidFill>
              <a:srgbClr val="FFFFFF"/>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srgbClr val="2E2E38"/>
                </a:solidFill>
                <a:effectLst/>
                <a:uLnTx/>
                <a:uFillTx/>
                <a:latin typeface="Century Gothic" panose="020B0502020202020204" pitchFamily="34" charset="0"/>
              </a:endParaRPr>
            </a:p>
          </p:txBody>
        </p:sp>
        <p:grpSp>
          <p:nvGrpSpPr>
            <p:cNvPr id="70" name="Group 69">
              <a:extLst>
                <a:ext uri="{FF2B5EF4-FFF2-40B4-BE49-F238E27FC236}">
                  <a16:creationId xmlns:a16="http://schemas.microsoft.com/office/drawing/2014/main" id="{48B06006-DAE7-02A3-3E70-C2E96BC47361}"/>
                </a:ext>
              </a:extLst>
            </p:cNvPr>
            <p:cNvGrpSpPr/>
            <p:nvPr/>
          </p:nvGrpSpPr>
          <p:grpSpPr>
            <a:xfrm rot="3600000" flipH="1">
              <a:off x="13183597" y="3062200"/>
              <a:ext cx="1107120" cy="1110316"/>
              <a:chOff x="8452862" y="1665208"/>
              <a:chExt cx="2083610" cy="2089630"/>
            </a:xfrm>
          </p:grpSpPr>
          <p:sp>
            <p:nvSpPr>
              <p:cNvPr id="71" name="Freeform 5">
                <a:extLst>
                  <a:ext uri="{FF2B5EF4-FFF2-40B4-BE49-F238E27FC236}">
                    <a16:creationId xmlns:a16="http://schemas.microsoft.com/office/drawing/2014/main" id="{6500E034-79F1-FE7F-0EFD-0CE16257FDAE}"/>
                  </a:ext>
                </a:extLst>
              </p:cNvPr>
              <p:cNvSpPr>
                <a:spLocks/>
              </p:cNvSpPr>
              <p:nvPr/>
            </p:nvSpPr>
            <p:spPr bwMode="auto">
              <a:xfrm>
                <a:off x="8655594" y="1706563"/>
                <a:ext cx="1844675" cy="2012950"/>
              </a:xfrm>
              <a:custGeom>
                <a:avLst/>
                <a:gdLst>
                  <a:gd name="T0" fmla="*/ 228 w 504"/>
                  <a:gd name="T1" fmla="*/ 0 h 553"/>
                  <a:gd name="T2" fmla="*/ 0 w 504"/>
                  <a:gd name="T3" fmla="*/ 119 h 553"/>
                  <a:gd name="T4" fmla="*/ 31 w 504"/>
                  <a:gd name="T5" fmla="*/ 153 h 553"/>
                  <a:gd name="T6" fmla="*/ 228 w 504"/>
                  <a:gd name="T7" fmla="*/ 44 h 553"/>
                  <a:gd name="T8" fmla="*/ 460 w 504"/>
                  <a:gd name="T9" fmla="*/ 277 h 553"/>
                  <a:gd name="T10" fmla="*/ 246 w 504"/>
                  <a:gd name="T11" fmla="*/ 508 h 553"/>
                  <a:gd name="T12" fmla="*/ 205 w 504"/>
                  <a:gd name="T13" fmla="*/ 552 h 553"/>
                  <a:gd name="T14" fmla="*/ 228 w 504"/>
                  <a:gd name="T15" fmla="*/ 553 h 553"/>
                  <a:gd name="T16" fmla="*/ 504 w 504"/>
                  <a:gd name="T17" fmla="*/ 277 h 553"/>
                  <a:gd name="T18" fmla="*/ 228 w 504"/>
                  <a:gd name="T19"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553">
                    <a:moveTo>
                      <a:pt x="228" y="0"/>
                    </a:moveTo>
                    <a:cubicBezTo>
                      <a:pt x="133" y="0"/>
                      <a:pt x="50" y="47"/>
                      <a:pt x="0" y="119"/>
                    </a:cubicBezTo>
                    <a:cubicBezTo>
                      <a:pt x="31" y="153"/>
                      <a:pt x="31" y="153"/>
                      <a:pt x="31" y="153"/>
                    </a:cubicBezTo>
                    <a:cubicBezTo>
                      <a:pt x="72" y="88"/>
                      <a:pt x="145" y="44"/>
                      <a:pt x="228" y="44"/>
                    </a:cubicBezTo>
                    <a:cubicBezTo>
                      <a:pt x="356" y="44"/>
                      <a:pt x="460" y="148"/>
                      <a:pt x="460" y="277"/>
                    </a:cubicBezTo>
                    <a:cubicBezTo>
                      <a:pt x="460" y="399"/>
                      <a:pt x="366" y="499"/>
                      <a:pt x="246" y="508"/>
                    </a:cubicBezTo>
                    <a:cubicBezTo>
                      <a:pt x="205" y="552"/>
                      <a:pt x="205" y="552"/>
                      <a:pt x="205" y="552"/>
                    </a:cubicBezTo>
                    <a:cubicBezTo>
                      <a:pt x="213" y="553"/>
                      <a:pt x="220" y="553"/>
                      <a:pt x="228" y="553"/>
                    </a:cubicBezTo>
                    <a:cubicBezTo>
                      <a:pt x="381" y="553"/>
                      <a:pt x="504" y="429"/>
                      <a:pt x="504" y="277"/>
                    </a:cubicBezTo>
                    <a:cubicBezTo>
                      <a:pt x="504" y="124"/>
                      <a:pt x="381" y="0"/>
                      <a:pt x="228" y="0"/>
                    </a:cubicBezTo>
                    <a:close/>
                  </a:path>
                </a:pathLst>
              </a:custGeom>
              <a:solidFill>
                <a:schemeClr val="accent5">
                  <a:lumMod val="20000"/>
                  <a:lumOff val="80000"/>
                </a:schemeClr>
              </a:solidFill>
              <a:ln w="76200">
                <a:solidFill>
                  <a:schemeClr val="accent5">
                    <a:lumMod val="20000"/>
                    <a:lumOff val="80000"/>
                  </a:schemeClr>
                </a:solidFill>
              </a:ln>
            </p:spPr>
            <p:txBody>
              <a:bodyPr vert="horz" wrap="square" lIns="91392" tIns="45696" rIns="91392" bIns="4569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72" name="Freeform 6">
                <a:extLst>
                  <a:ext uri="{FF2B5EF4-FFF2-40B4-BE49-F238E27FC236}">
                    <a16:creationId xmlns:a16="http://schemas.microsoft.com/office/drawing/2014/main" id="{D3A05203-5EC6-B32D-567D-11B0A030D141}"/>
                  </a:ext>
                </a:extLst>
              </p:cNvPr>
              <p:cNvSpPr>
                <a:spLocks/>
              </p:cNvSpPr>
              <p:nvPr/>
            </p:nvSpPr>
            <p:spPr bwMode="auto">
              <a:xfrm>
                <a:off x="8476206" y="2230436"/>
                <a:ext cx="939799" cy="1471612"/>
              </a:xfrm>
              <a:custGeom>
                <a:avLst/>
                <a:gdLst>
                  <a:gd name="T0" fmla="*/ 44 w 257"/>
                  <a:gd name="T1" fmla="*/ 133 h 404"/>
                  <a:gd name="T2" fmla="*/ 66 w 257"/>
                  <a:gd name="T3" fmla="*/ 35 h 404"/>
                  <a:gd name="T4" fmla="*/ 34 w 257"/>
                  <a:gd name="T5" fmla="*/ 0 h 404"/>
                  <a:gd name="T6" fmla="*/ 0 w 257"/>
                  <a:gd name="T7" fmla="*/ 133 h 404"/>
                  <a:gd name="T8" fmla="*/ 220 w 257"/>
                  <a:gd name="T9" fmla="*/ 404 h 404"/>
                  <a:gd name="T10" fmla="*/ 257 w 257"/>
                  <a:gd name="T11" fmla="*/ 364 h 404"/>
                  <a:gd name="T12" fmla="*/ 44 w 257"/>
                  <a:gd name="T13" fmla="*/ 133 h 404"/>
                </a:gdLst>
                <a:ahLst/>
                <a:cxnLst>
                  <a:cxn ang="0">
                    <a:pos x="T0" y="T1"/>
                  </a:cxn>
                  <a:cxn ang="0">
                    <a:pos x="T2" y="T3"/>
                  </a:cxn>
                  <a:cxn ang="0">
                    <a:pos x="T4" y="T5"/>
                  </a:cxn>
                  <a:cxn ang="0">
                    <a:pos x="T6" y="T7"/>
                  </a:cxn>
                  <a:cxn ang="0">
                    <a:pos x="T8" y="T9"/>
                  </a:cxn>
                  <a:cxn ang="0">
                    <a:pos x="T10" y="T11"/>
                  </a:cxn>
                  <a:cxn ang="0">
                    <a:pos x="T12" y="T13"/>
                  </a:cxn>
                </a:cxnLst>
                <a:rect l="0" t="0" r="r" b="b"/>
                <a:pathLst>
                  <a:path w="257" h="404">
                    <a:moveTo>
                      <a:pt x="44" y="133"/>
                    </a:moveTo>
                    <a:cubicBezTo>
                      <a:pt x="44" y="98"/>
                      <a:pt x="52" y="64"/>
                      <a:pt x="66" y="35"/>
                    </a:cubicBezTo>
                    <a:cubicBezTo>
                      <a:pt x="34" y="0"/>
                      <a:pt x="34" y="0"/>
                      <a:pt x="34" y="0"/>
                    </a:cubicBezTo>
                    <a:cubicBezTo>
                      <a:pt x="12" y="39"/>
                      <a:pt x="0" y="85"/>
                      <a:pt x="0" y="133"/>
                    </a:cubicBezTo>
                    <a:cubicBezTo>
                      <a:pt x="0" y="266"/>
                      <a:pt x="95" y="378"/>
                      <a:pt x="220" y="404"/>
                    </a:cubicBezTo>
                    <a:cubicBezTo>
                      <a:pt x="257" y="364"/>
                      <a:pt x="257" y="364"/>
                      <a:pt x="257" y="364"/>
                    </a:cubicBezTo>
                    <a:cubicBezTo>
                      <a:pt x="138" y="354"/>
                      <a:pt x="44" y="254"/>
                      <a:pt x="44" y="133"/>
                    </a:cubicBezTo>
                    <a:close/>
                  </a:path>
                </a:pathLst>
              </a:custGeom>
              <a:solidFill>
                <a:schemeClr val="accent5"/>
              </a:solidFill>
              <a:ln w="76200">
                <a:solidFill>
                  <a:schemeClr val="accent5"/>
                </a:solidFill>
              </a:ln>
            </p:spPr>
            <p:txBody>
              <a:bodyPr vert="horz" wrap="square" lIns="91392" tIns="45696" rIns="91392" bIns="4569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73" name="Arc 72">
                <a:extLst>
                  <a:ext uri="{FF2B5EF4-FFF2-40B4-BE49-F238E27FC236}">
                    <a16:creationId xmlns:a16="http://schemas.microsoft.com/office/drawing/2014/main" id="{B9DE5AEF-54B5-42FD-35A1-2B4B9B817E32}"/>
                  </a:ext>
                </a:extLst>
              </p:cNvPr>
              <p:cNvSpPr/>
              <p:nvPr/>
            </p:nvSpPr>
            <p:spPr>
              <a:xfrm>
                <a:off x="8452862" y="1671238"/>
                <a:ext cx="2083604" cy="2083600"/>
              </a:xfrm>
              <a:prstGeom prst="arc">
                <a:avLst>
                  <a:gd name="adj1" fmla="val 6365236"/>
                  <a:gd name="adj2" fmla="val 12640941"/>
                </a:avLst>
              </a:prstGeom>
              <a:noFill/>
              <a:ln w="25400" cap="rnd" cmpd="sng" algn="ctr">
                <a:solidFill>
                  <a:srgbClr val="C4C4CD"/>
                </a:solidFill>
                <a:prstDash val="sysDot"/>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74" name="Arc 73">
                <a:extLst>
                  <a:ext uri="{FF2B5EF4-FFF2-40B4-BE49-F238E27FC236}">
                    <a16:creationId xmlns:a16="http://schemas.microsoft.com/office/drawing/2014/main" id="{65E2240C-A500-B9E3-C1AE-5F24C0D85592}"/>
                  </a:ext>
                </a:extLst>
              </p:cNvPr>
              <p:cNvSpPr/>
              <p:nvPr/>
            </p:nvSpPr>
            <p:spPr>
              <a:xfrm>
                <a:off x="8452867" y="1665208"/>
                <a:ext cx="2083605" cy="2083600"/>
              </a:xfrm>
              <a:prstGeom prst="arc">
                <a:avLst>
                  <a:gd name="adj1" fmla="val 13023328"/>
                  <a:gd name="adj2" fmla="val 5682971"/>
                </a:avLst>
              </a:prstGeom>
              <a:noFill/>
              <a:ln w="9525" cap="flat" cmpd="sng" algn="ctr">
                <a:noFill/>
                <a:prstDash val="solid"/>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grpSp>
      </p:grpSp>
      <p:grpSp>
        <p:nvGrpSpPr>
          <p:cNvPr id="75" name="Group 74">
            <a:extLst>
              <a:ext uri="{FF2B5EF4-FFF2-40B4-BE49-F238E27FC236}">
                <a16:creationId xmlns:a16="http://schemas.microsoft.com/office/drawing/2014/main" id="{43D07AB9-51B0-606F-6F94-B938C2110C75}"/>
              </a:ext>
            </a:extLst>
          </p:cNvPr>
          <p:cNvGrpSpPr/>
          <p:nvPr/>
        </p:nvGrpSpPr>
        <p:grpSpPr>
          <a:xfrm>
            <a:off x="9103981" y="2443303"/>
            <a:ext cx="1316547" cy="1311260"/>
            <a:chOff x="13182001" y="3063798"/>
            <a:chExt cx="1110316" cy="1107120"/>
          </a:xfrm>
        </p:grpSpPr>
        <p:sp>
          <p:nvSpPr>
            <p:cNvPr id="76" name="Oval 75">
              <a:extLst>
                <a:ext uri="{FF2B5EF4-FFF2-40B4-BE49-F238E27FC236}">
                  <a16:creationId xmlns:a16="http://schemas.microsoft.com/office/drawing/2014/main" id="{7C8A0DC0-B7B2-E0C0-B244-EC5893DC2E23}"/>
                </a:ext>
              </a:extLst>
            </p:cNvPr>
            <p:cNvSpPr/>
            <p:nvPr/>
          </p:nvSpPr>
          <p:spPr>
            <a:xfrm>
              <a:off x="13311445" y="3191186"/>
              <a:ext cx="840995" cy="840995"/>
            </a:xfrm>
            <a:prstGeom prst="ellipse">
              <a:avLst/>
            </a:prstGeom>
            <a:solidFill>
              <a:srgbClr val="FFFFFF"/>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srgbClr val="2E2E38"/>
                </a:solidFill>
                <a:effectLst/>
                <a:uLnTx/>
                <a:uFillTx/>
                <a:latin typeface="Century Gothic" panose="020B0502020202020204" pitchFamily="34" charset="0"/>
              </a:endParaRPr>
            </a:p>
          </p:txBody>
        </p:sp>
        <p:grpSp>
          <p:nvGrpSpPr>
            <p:cNvPr id="77" name="Group 76">
              <a:extLst>
                <a:ext uri="{FF2B5EF4-FFF2-40B4-BE49-F238E27FC236}">
                  <a16:creationId xmlns:a16="http://schemas.microsoft.com/office/drawing/2014/main" id="{FDD24069-E4EF-9C2E-CAF6-83BD9CFC7FEA}"/>
                </a:ext>
              </a:extLst>
            </p:cNvPr>
            <p:cNvGrpSpPr/>
            <p:nvPr/>
          </p:nvGrpSpPr>
          <p:grpSpPr>
            <a:xfrm rot="3600000" flipH="1">
              <a:off x="13183599" y="3062200"/>
              <a:ext cx="1107120" cy="1110316"/>
              <a:chOff x="8452862" y="1665208"/>
              <a:chExt cx="2083610" cy="2089630"/>
            </a:xfrm>
          </p:grpSpPr>
          <p:sp>
            <p:nvSpPr>
              <p:cNvPr id="78" name="Freeform 5">
                <a:extLst>
                  <a:ext uri="{FF2B5EF4-FFF2-40B4-BE49-F238E27FC236}">
                    <a16:creationId xmlns:a16="http://schemas.microsoft.com/office/drawing/2014/main" id="{299EB8EA-AC29-1136-DE26-DEDF0CE19F17}"/>
                  </a:ext>
                </a:extLst>
              </p:cNvPr>
              <p:cNvSpPr>
                <a:spLocks/>
              </p:cNvSpPr>
              <p:nvPr/>
            </p:nvSpPr>
            <p:spPr bwMode="auto">
              <a:xfrm>
                <a:off x="8655594" y="1706563"/>
                <a:ext cx="1844675" cy="2012950"/>
              </a:xfrm>
              <a:custGeom>
                <a:avLst/>
                <a:gdLst>
                  <a:gd name="T0" fmla="*/ 228 w 504"/>
                  <a:gd name="T1" fmla="*/ 0 h 553"/>
                  <a:gd name="T2" fmla="*/ 0 w 504"/>
                  <a:gd name="T3" fmla="*/ 119 h 553"/>
                  <a:gd name="T4" fmla="*/ 31 w 504"/>
                  <a:gd name="T5" fmla="*/ 153 h 553"/>
                  <a:gd name="T6" fmla="*/ 228 w 504"/>
                  <a:gd name="T7" fmla="*/ 44 h 553"/>
                  <a:gd name="T8" fmla="*/ 460 w 504"/>
                  <a:gd name="T9" fmla="*/ 277 h 553"/>
                  <a:gd name="T10" fmla="*/ 246 w 504"/>
                  <a:gd name="T11" fmla="*/ 508 h 553"/>
                  <a:gd name="T12" fmla="*/ 205 w 504"/>
                  <a:gd name="T13" fmla="*/ 552 h 553"/>
                  <a:gd name="T14" fmla="*/ 228 w 504"/>
                  <a:gd name="T15" fmla="*/ 553 h 553"/>
                  <a:gd name="T16" fmla="*/ 504 w 504"/>
                  <a:gd name="T17" fmla="*/ 277 h 553"/>
                  <a:gd name="T18" fmla="*/ 228 w 504"/>
                  <a:gd name="T19"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553">
                    <a:moveTo>
                      <a:pt x="228" y="0"/>
                    </a:moveTo>
                    <a:cubicBezTo>
                      <a:pt x="133" y="0"/>
                      <a:pt x="50" y="47"/>
                      <a:pt x="0" y="119"/>
                    </a:cubicBezTo>
                    <a:cubicBezTo>
                      <a:pt x="31" y="153"/>
                      <a:pt x="31" y="153"/>
                      <a:pt x="31" y="153"/>
                    </a:cubicBezTo>
                    <a:cubicBezTo>
                      <a:pt x="72" y="88"/>
                      <a:pt x="145" y="44"/>
                      <a:pt x="228" y="44"/>
                    </a:cubicBezTo>
                    <a:cubicBezTo>
                      <a:pt x="356" y="44"/>
                      <a:pt x="460" y="148"/>
                      <a:pt x="460" y="277"/>
                    </a:cubicBezTo>
                    <a:cubicBezTo>
                      <a:pt x="460" y="399"/>
                      <a:pt x="366" y="499"/>
                      <a:pt x="246" y="508"/>
                    </a:cubicBezTo>
                    <a:cubicBezTo>
                      <a:pt x="205" y="552"/>
                      <a:pt x="205" y="552"/>
                      <a:pt x="205" y="552"/>
                    </a:cubicBezTo>
                    <a:cubicBezTo>
                      <a:pt x="213" y="553"/>
                      <a:pt x="220" y="553"/>
                      <a:pt x="228" y="553"/>
                    </a:cubicBezTo>
                    <a:cubicBezTo>
                      <a:pt x="381" y="553"/>
                      <a:pt x="504" y="429"/>
                      <a:pt x="504" y="277"/>
                    </a:cubicBezTo>
                    <a:cubicBezTo>
                      <a:pt x="504" y="124"/>
                      <a:pt x="381" y="0"/>
                      <a:pt x="228" y="0"/>
                    </a:cubicBezTo>
                    <a:close/>
                  </a:path>
                </a:pathLst>
              </a:custGeom>
              <a:solidFill>
                <a:srgbClr val="E9488B"/>
              </a:solidFill>
              <a:ln w="76200">
                <a:solidFill>
                  <a:srgbClr val="E9488B"/>
                </a:solidFill>
              </a:ln>
            </p:spPr>
            <p:txBody>
              <a:bodyPr vert="horz" wrap="square" lIns="91392" tIns="45696" rIns="91392" bIns="4569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79" name="Freeform 6">
                <a:extLst>
                  <a:ext uri="{FF2B5EF4-FFF2-40B4-BE49-F238E27FC236}">
                    <a16:creationId xmlns:a16="http://schemas.microsoft.com/office/drawing/2014/main" id="{B9383AEC-254B-8273-6C03-92D561B33339}"/>
                  </a:ext>
                </a:extLst>
              </p:cNvPr>
              <p:cNvSpPr>
                <a:spLocks/>
              </p:cNvSpPr>
              <p:nvPr/>
            </p:nvSpPr>
            <p:spPr bwMode="auto">
              <a:xfrm>
                <a:off x="8476206" y="2230436"/>
                <a:ext cx="939799" cy="1471612"/>
              </a:xfrm>
              <a:custGeom>
                <a:avLst/>
                <a:gdLst>
                  <a:gd name="T0" fmla="*/ 44 w 257"/>
                  <a:gd name="T1" fmla="*/ 133 h 404"/>
                  <a:gd name="T2" fmla="*/ 66 w 257"/>
                  <a:gd name="T3" fmla="*/ 35 h 404"/>
                  <a:gd name="T4" fmla="*/ 34 w 257"/>
                  <a:gd name="T5" fmla="*/ 0 h 404"/>
                  <a:gd name="T6" fmla="*/ 0 w 257"/>
                  <a:gd name="T7" fmla="*/ 133 h 404"/>
                  <a:gd name="T8" fmla="*/ 220 w 257"/>
                  <a:gd name="T9" fmla="*/ 404 h 404"/>
                  <a:gd name="T10" fmla="*/ 257 w 257"/>
                  <a:gd name="T11" fmla="*/ 364 h 404"/>
                  <a:gd name="T12" fmla="*/ 44 w 257"/>
                  <a:gd name="T13" fmla="*/ 133 h 404"/>
                </a:gdLst>
                <a:ahLst/>
                <a:cxnLst>
                  <a:cxn ang="0">
                    <a:pos x="T0" y="T1"/>
                  </a:cxn>
                  <a:cxn ang="0">
                    <a:pos x="T2" y="T3"/>
                  </a:cxn>
                  <a:cxn ang="0">
                    <a:pos x="T4" y="T5"/>
                  </a:cxn>
                  <a:cxn ang="0">
                    <a:pos x="T6" y="T7"/>
                  </a:cxn>
                  <a:cxn ang="0">
                    <a:pos x="T8" y="T9"/>
                  </a:cxn>
                  <a:cxn ang="0">
                    <a:pos x="T10" y="T11"/>
                  </a:cxn>
                  <a:cxn ang="0">
                    <a:pos x="T12" y="T13"/>
                  </a:cxn>
                </a:cxnLst>
                <a:rect l="0" t="0" r="r" b="b"/>
                <a:pathLst>
                  <a:path w="257" h="404">
                    <a:moveTo>
                      <a:pt x="44" y="133"/>
                    </a:moveTo>
                    <a:cubicBezTo>
                      <a:pt x="44" y="98"/>
                      <a:pt x="52" y="64"/>
                      <a:pt x="66" y="35"/>
                    </a:cubicBezTo>
                    <a:cubicBezTo>
                      <a:pt x="34" y="0"/>
                      <a:pt x="34" y="0"/>
                      <a:pt x="34" y="0"/>
                    </a:cubicBezTo>
                    <a:cubicBezTo>
                      <a:pt x="12" y="39"/>
                      <a:pt x="0" y="85"/>
                      <a:pt x="0" y="133"/>
                    </a:cubicBezTo>
                    <a:cubicBezTo>
                      <a:pt x="0" y="266"/>
                      <a:pt x="95" y="378"/>
                      <a:pt x="220" y="404"/>
                    </a:cubicBezTo>
                    <a:cubicBezTo>
                      <a:pt x="257" y="364"/>
                      <a:pt x="257" y="364"/>
                      <a:pt x="257" y="364"/>
                    </a:cubicBezTo>
                    <a:cubicBezTo>
                      <a:pt x="138" y="354"/>
                      <a:pt x="44" y="254"/>
                      <a:pt x="44" y="133"/>
                    </a:cubicBezTo>
                    <a:close/>
                  </a:path>
                </a:pathLst>
              </a:custGeom>
              <a:solidFill>
                <a:srgbClr val="F5ADCA"/>
              </a:solidFill>
              <a:ln w="76200">
                <a:solidFill>
                  <a:srgbClr val="F5ADCA"/>
                </a:solidFill>
              </a:ln>
            </p:spPr>
            <p:txBody>
              <a:bodyPr vert="horz" wrap="square" lIns="91392" tIns="45696" rIns="91392" bIns="4569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80" name="Arc 79">
                <a:extLst>
                  <a:ext uri="{FF2B5EF4-FFF2-40B4-BE49-F238E27FC236}">
                    <a16:creationId xmlns:a16="http://schemas.microsoft.com/office/drawing/2014/main" id="{F1E1D66C-0120-F0B2-3A77-B7EB128C5EB6}"/>
                  </a:ext>
                </a:extLst>
              </p:cNvPr>
              <p:cNvSpPr/>
              <p:nvPr/>
            </p:nvSpPr>
            <p:spPr>
              <a:xfrm>
                <a:off x="8452862" y="1671238"/>
                <a:ext cx="2083604" cy="2083600"/>
              </a:xfrm>
              <a:prstGeom prst="arc">
                <a:avLst>
                  <a:gd name="adj1" fmla="val 6365236"/>
                  <a:gd name="adj2" fmla="val 12640941"/>
                </a:avLst>
              </a:prstGeom>
              <a:noFill/>
              <a:ln w="25400" cap="rnd" cmpd="sng" algn="ctr">
                <a:solidFill>
                  <a:srgbClr val="C4C4CD"/>
                </a:solidFill>
                <a:prstDash val="sysDot"/>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81" name="Arc 80">
                <a:extLst>
                  <a:ext uri="{FF2B5EF4-FFF2-40B4-BE49-F238E27FC236}">
                    <a16:creationId xmlns:a16="http://schemas.microsoft.com/office/drawing/2014/main" id="{9EEB2167-3DD2-B3A9-C3F4-E20599044FD6}"/>
                  </a:ext>
                </a:extLst>
              </p:cNvPr>
              <p:cNvSpPr/>
              <p:nvPr/>
            </p:nvSpPr>
            <p:spPr>
              <a:xfrm>
                <a:off x="8452867" y="1665208"/>
                <a:ext cx="2083605" cy="2083600"/>
              </a:xfrm>
              <a:prstGeom prst="arc">
                <a:avLst>
                  <a:gd name="adj1" fmla="val 13023328"/>
                  <a:gd name="adj2" fmla="val 5682971"/>
                </a:avLst>
              </a:prstGeom>
              <a:noFill/>
              <a:ln w="9525" cap="flat" cmpd="sng" algn="ctr">
                <a:noFill/>
                <a:prstDash val="solid"/>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3198" b="0" i="0" u="none" strike="noStrike" kern="0" cap="none" spc="0" normalizeH="0" baseline="0" noProof="0" dirty="0">
                  <a:ln>
                    <a:noFill/>
                  </a:ln>
                  <a:solidFill>
                    <a:srgbClr val="2E2E38"/>
                  </a:solidFill>
                  <a:effectLst/>
                  <a:uLnTx/>
                  <a:uFillTx/>
                  <a:latin typeface="Century Gothic" panose="020B0502020202020204" pitchFamily="34" charset="0"/>
                </a:endParaRPr>
              </a:p>
            </p:txBody>
          </p:sp>
        </p:grpSp>
      </p:grpSp>
      <p:pic>
        <p:nvPicPr>
          <p:cNvPr id="82" name="Graphic 81" descr="Earth globe: Americas with solid fill">
            <a:extLst>
              <a:ext uri="{FF2B5EF4-FFF2-40B4-BE49-F238E27FC236}">
                <a16:creationId xmlns:a16="http://schemas.microsoft.com/office/drawing/2014/main" id="{7F670265-CF9D-B57E-0B30-1F7998870D7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80489" y="2776233"/>
            <a:ext cx="661161" cy="645400"/>
          </a:xfrm>
          <a:prstGeom prst="rect">
            <a:avLst/>
          </a:prstGeom>
        </p:spPr>
      </p:pic>
      <p:pic>
        <p:nvPicPr>
          <p:cNvPr id="83" name="Graphic 82" descr="Thermometer with solid fill">
            <a:extLst>
              <a:ext uri="{FF2B5EF4-FFF2-40B4-BE49-F238E27FC236}">
                <a16:creationId xmlns:a16="http://schemas.microsoft.com/office/drawing/2014/main" id="{EF73DFD8-AE49-4BC8-0B9F-CB87FA26E7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2489" y="2684111"/>
            <a:ext cx="300001" cy="292850"/>
          </a:xfrm>
          <a:prstGeom prst="rect">
            <a:avLst/>
          </a:prstGeom>
        </p:spPr>
      </p:pic>
      <p:pic>
        <p:nvPicPr>
          <p:cNvPr id="84" name="Graphic 83" descr="Open hand with plant outline">
            <a:extLst>
              <a:ext uri="{FF2B5EF4-FFF2-40B4-BE49-F238E27FC236}">
                <a16:creationId xmlns:a16="http://schemas.microsoft.com/office/drawing/2014/main" id="{54B38ED2-CD00-B1EE-7DFE-3C653FBD7E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06869" y="2793773"/>
            <a:ext cx="595093" cy="595093"/>
          </a:xfrm>
          <a:prstGeom prst="rect">
            <a:avLst/>
          </a:prstGeom>
        </p:spPr>
      </p:pic>
    </p:spTree>
    <p:extLst>
      <p:ext uri="{BB962C8B-B14F-4D97-AF65-F5344CB8AC3E}">
        <p14:creationId xmlns:p14="http://schemas.microsoft.com/office/powerpoint/2010/main" val="2400251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655CD-E560-3964-7E45-23BBC80B56F1}"/>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187F438C-741C-819D-F74C-88884E010BFD}"/>
              </a:ext>
            </a:extLst>
          </p:cNvPr>
          <p:cNvSpPr txBox="1"/>
          <p:nvPr/>
        </p:nvSpPr>
        <p:spPr>
          <a:xfrm>
            <a:off x="1067602" y="260997"/>
            <a:ext cx="6589523"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Riesgo Climático</a:t>
            </a:r>
          </a:p>
        </p:txBody>
      </p:sp>
      <p:grpSp>
        <p:nvGrpSpPr>
          <p:cNvPr id="4" name="Grupo 3">
            <a:extLst>
              <a:ext uri="{FF2B5EF4-FFF2-40B4-BE49-F238E27FC236}">
                <a16:creationId xmlns:a16="http://schemas.microsoft.com/office/drawing/2014/main" id="{1994FF57-D91B-D4A2-33AD-B1D0A0618999}"/>
              </a:ext>
            </a:extLst>
          </p:cNvPr>
          <p:cNvGrpSpPr/>
          <p:nvPr/>
        </p:nvGrpSpPr>
        <p:grpSpPr>
          <a:xfrm>
            <a:off x="254282" y="270730"/>
            <a:ext cx="748010" cy="812393"/>
            <a:chOff x="533341" y="510112"/>
            <a:chExt cx="997346" cy="1083190"/>
          </a:xfrm>
        </p:grpSpPr>
        <p:sp>
          <p:nvSpPr>
            <p:cNvPr id="6" name="object 9">
              <a:extLst>
                <a:ext uri="{FF2B5EF4-FFF2-40B4-BE49-F238E27FC236}">
                  <a16:creationId xmlns:a16="http://schemas.microsoft.com/office/drawing/2014/main" id="{45B37AB9-02EC-9D21-0690-1D1E2042DC31}"/>
                </a:ext>
              </a:extLst>
            </p:cNvPr>
            <p:cNvSpPr/>
            <p:nvPr/>
          </p:nvSpPr>
          <p:spPr>
            <a:xfrm>
              <a:off x="53334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3" name="object 10">
              <a:extLst>
                <a:ext uri="{FF2B5EF4-FFF2-40B4-BE49-F238E27FC236}">
                  <a16:creationId xmlns:a16="http://schemas.microsoft.com/office/drawing/2014/main" id="{484280FA-A471-7E16-1309-549F24C45ACD}"/>
                </a:ext>
              </a:extLst>
            </p:cNvPr>
            <p:cNvSpPr/>
            <p:nvPr/>
          </p:nvSpPr>
          <p:spPr>
            <a:xfrm>
              <a:off x="69331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7" name="object 11">
              <a:extLst>
                <a:ext uri="{FF2B5EF4-FFF2-40B4-BE49-F238E27FC236}">
                  <a16:creationId xmlns:a16="http://schemas.microsoft.com/office/drawing/2014/main" id="{1780692B-804E-CC85-D87D-22333786E960}"/>
                </a:ext>
              </a:extLst>
            </p:cNvPr>
            <p:cNvSpPr/>
            <p:nvPr/>
          </p:nvSpPr>
          <p:spPr>
            <a:xfrm>
              <a:off x="853292"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20" name="object 12">
              <a:extLst>
                <a:ext uri="{FF2B5EF4-FFF2-40B4-BE49-F238E27FC236}">
                  <a16:creationId xmlns:a16="http://schemas.microsoft.com/office/drawing/2014/main" id="{2E56E787-F111-0468-D141-F295F5B63A3F}"/>
                </a:ext>
              </a:extLst>
            </p:cNvPr>
            <p:cNvSpPr/>
            <p:nvPr/>
          </p:nvSpPr>
          <p:spPr>
            <a:xfrm>
              <a:off x="101328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1" name="object 13">
              <a:extLst>
                <a:ext uri="{FF2B5EF4-FFF2-40B4-BE49-F238E27FC236}">
                  <a16:creationId xmlns:a16="http://schemas.microsoft.com/office/drawing/2014/main" id="{7F351A33-8ECD-53EE-0440-2593EC76F4A3}"/>
                </a:ext>
              </a:extLst>
            </p:cNvPr>
            <p:cNvSpPr/>
            <p:nvPr/>
          </p:nvSpPr>
          <p:spPr>
            <a:xfrm>
              <a:off x="533341"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3" name="object 14">
              <a:extLst>
                <a:ext uri="{FF2B5EF4-FFF2-40B4-BE49-F238E27FC236}">
                  <a16:creationId xmlns:a16="http://schemas.microsoft.com/office/drawing/2014/main" id="{B9B0FCC8-8653-A3AF-88E7-43F3F016214D}"/>
                </a:ext>
              </a:extLst>
            </p:cNvPr>
            <p:cNvSpPr/>
            <p:nvPr/>
          </p:nvSpPr>
          <p:spPr>
            <a:xfrm>
              <a:off x="69331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4" name="object 15">
              <a:extLst>
                <a:ext uri="{FF2B5EF4-FFF2-40B4-BE49-F238E27FC236}">
                  <a16:creationId xmlns:a16="http://schemas.microsoft.com/office/drawing/2014/main" id="{DC7BDDC8-F9F6-BA67-0106-CEFB3AF37F31}"/>
                </a:ext>
              </a:extLst>
            </p:cNvPr>
            <p:cNvSpPr/>
            <p:nvPr/>
          </p:nvSpPr>
          <p:spPr>
            <a:xfrm>
              <a:off x="853290"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5" name="object 16">
              <a:extLst>
                <a:ext uri="{FF2B5EF4-FFF2-40B4-BE49-F238E27FC236}">
                  <a16:creationId xmlns:a16="http://schemas.microsoft.com/office/drawing/2014/main" id="{F3C7427A-A9BB-7649-75B9-2FFADAA01B49}"/>
                </a:ext>
              </a:extLst>
            </p:cNvPr>
            <p:cNvSpPr/>
            <p:nvPr/>
          </p:nvSpPr>
          <p:spPr>
            <a:xfrm>
              <a:off x="1013280"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6" name="object 17">
              <a:extLst>
                <a:ext uri="{FF2B5EF4-FFF2-40B4-BE49-F238E27FC236}">
                  <a16:creationId xmlns:a16="http://schemas.microsoft.com/office/drawing/2014/main" id="{00AF9055-5580-213E-D2F2-E6FD5A7CBF1E}"/>
                </a:ext>
              </a:extLst>
            </p:cNvPr>
            <p:cNvSpPr/>
            <p:nvPr/>
          </p:nvSpPr>
          <p:spPr>
            <a:xfrm>
              <a:off x="53334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7" name="object 18">
              <a:extLst>
                <a:ext uri="{FF2B5EF4-FFF2-40B4-BE49-F238E27FC236}">
                  <a16:creationId xmlns:a16="http://schemas.microsoft.com/office/drawing/2014/main" id="{99C76532-30CF-F6EC-7032-F3922555C92D}"/>
                </a:ext>
              </a:extLst>
            </p:cNvPr>
            <p:cNvSpPr/>
            <p:nvPr/>
          </p:nvSpPr>
          <p:spPr>
            <a:xfrm>
              <a:off x="69331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8" name="object 19">
              <a:extLst>
                <a:ext uri="{FF2B5EF4-FFF2-40B4-BE49-F238E27FC236}">
                  <a16:creationId xmlns:a16="http://schemas.microsoft.com/office/drawing/2014/main" id="{8347A1E6-4A42-7718-EA80-BA4841A1301A}"/>
                </a:ext>
              </a:extLst>
            </p:cNvPr>
            <p:cNvSpPr/>
            <p:nvPr/>
          </p:nvSpPr>
          <p:spPr>
            <a:xfrm>
              <a:off x="853292"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9" name="object 20">
              <a:extLst>
                <a:ext uri="{FF2B5EF4-FFF2-40B4-BE49-F238E27FC236}">
                  <a16:creationId xmlns:a16="http://schemas.microsoft.com/office/drawing/2014/main" id="{98FA9957-214A-FD7D-303C-700CE26E976E}"/>
                </a:ext>
              </a:extLst>
            </p:cNvPr>
            <p:cNvSpPr/>
            <p:nvPr/>
          </p:nvSpPr>
          <p:spPr>
            <a:xfrm>
              <a:off x="101328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0" name="object 21">
              <a:extLst>
                <a:ext uri="{FF2B5EF4-FFF2-40B4-BE49-F238E27FC236}">
                  <a16:creationId xmlns:a16="http://schemas.microsoft.com/office/drawing/2014/main" id="{74E1FA67-6373-4543-8792-23420B67D8C7}"/>
                </a:ext>
              </a:extLst>
            </p:cNvPr>
            <p:cNvSpPr/>
            <p:nvPr/>
          </p:nvSpPr>
          <p:spPr>
            <a:xfrm>
              <a:off x="53334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1" name="object 22">
              <a:extLst>
                <a:ext uri="{FF2B5EF4-FFF2-40B4-BE49-F238E27FC236}">
                  <a16:creationId xmlns:a16="http://schemas.microsoft.com/office/drawing/2014/main" id="{AAA673D0-26E0-1415-6F64-BA490071DC26}"/>
                </a:ext>
              </a:extLst>
            </p:cNvPr>
            <p:cNvSpPr/>
            <p:nvPr/>
          </p:nvSpPr>
          <p:spPr>
            <a:xfrm>
              <a:off x="69331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2" name="object 23">
              <a:extLst>
                <a:ext uri="{FF2B5EF4-FFF2-40B4-BE49-F238E27FC236}">
                  <a16:creationId xmlns:a16="http://schemas.microsoft.com/office/drawing/2014/main" id="{02EFF7F5-C602-753C-801D-4B2292574032}"/>
                </a:ext>
              </a:extLst>
            </p:cNvPr>
            <p:cNvSpPr/>
            <p:nvPr/>
          </p:nvSpPr>
          <p:spPr>
            <a:xfrm>
              <a:off x="853292"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3" name="object 24">
              <a:extLst>
                <a:ext uri="{FF2B5EF4-FFF2-40B4-BE49-F238E27FC236}">
                  <a16:creationId xmlns:a16="http://schemas.microsoft.com/office/drawing/2014/main" id="{F9D5CC3E-C0EB-A95C-B436-B2FB4E2D5005}"/>
                </a:ext>
              </a:extLst>
            </p:cNvPr>
            <p:cNvSpPr/>
            <p:nvPr/>
          </p:nvSpPr>
          <p:spPr>
            <a:xfrm>
              <a:off x="101328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4" name="object 25">
              <a:extLst>
                <a:ext uri="{FF2B5EF4-FFF2-40B4-BE49-F238E27FC236}">
                  <a16:creationId xmlns:a16="http://schemas.microsoft.com/office/drawing/2014/main" id="{DFACD589-76E4-D5D9-4964-EC8E669860ED}"/>
                </a:ext>
              </a:extLst>
            </p:cNvPr>
            <p:cNvSpPr/>
            <p:nvPr/>
          </p:nvSpPr>
          <p:spPr>
            <a:xfrm>
              <a:off x="533341"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5" name="object 26">
              <a:extLst>
                <a:ext uri="{FF2B5EF4-FFF2-40B4-BE49-F238E27FC236}">
                  <a16:creationId xmlns:a16="http://schemas.microsoft.com/office/drawing/2014/main" id="{3482B46D-045F-566A-F87D-54081BF91D56}"/>
                </a:ext>
              </a:extLst>
            </p:cNvPr>
            <p:cNvSpPr/>
            <p:nvPr/>
          </p:nvSpPr>
          <p:spPr>
            <a:xfrm>
              <a:off x="69331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6" name="object 27">
              <a:extLst>
                <a:ext uri="{FF2B5EF4-FFF2-40B4-BE49-F238E27FC236}">
                  <a16:creationId xmlns:a16="http://schemas.microsoft.com/office/drawing/2014/main" id="{E330B55B-53FE-E806-B7AD-F45F8CA6AE85}"/>
                </a:ext>
              </a:extLst>
            </p:cNvPr>
            <p:cNvSpPr/>
            <p:nvPr/>
          </p:nvSpPr>
          <p:spPr>
            <a:xfrm>
              <a:off x="853290"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object 28">
              <a:extLst>
                <a:ext uri="{FF2B5EF4-FFF2-40B4-BE49-F238E27FC236}">
                  <a16:creationId xmlns:a16="http://schemas.microsoft.com/office/drawing/2014/main" id="{BC36B3DB-9CBF-4ED7-5115-300CE6D0E14E}"/>
                </a:ext>
              </a:extLst>
            </p:cNvPr>
            <p:cNvSpPr/>
            <p:nvPr/>
          </p:nvSpPr>
          <p:spPr>
            <a:xfrm>
              <a:off x="1013280"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8" name="object 29">
              <a:extLst>
                <a:ext uri="{FF2B5EF4-FFF2-40B4-BE49-F238E27FC236}">
                  <a16:creationId xmlns:a16="http://schemas.microsoft.com/office/drawing/2014/main" id="{FFD9DA47-0F8F-AE24-F7A9-14F10741021D}"/>
                </a:ext>
              </a:extLst>
            </p:cNvPr>
            <p:cNvSpPr/>
            <p:nvPr/>
          </p:nvSpPr>
          <p:spPr>
            <a:xfrm>
              <a:off x="53334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9" name="object 30">
              <a:extLst>
                <a:ext uri="{FF2B5EF4-FFF2-40B4-BE49-F238E27FC236}">
                  <a16:creationId xmlns:a16="http://schemas.microsoft.com/office/drawing/2014/main" id="{BBC9E6BD-DA50-4836-89CF-07DBC5E1F4BA}"/>
                </a:ext>
              </a:extLst>
            </p:cNvPr>
            <p:cNvSpPr/>
            <p:nvPr/>
          </p:nvSpPr>
          <p:spPr>
            <a:xfrm>
              <a:off x="69331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0" name="object 31">
              <a:extLst>
                <a:ext uri="{FF2B5EF4-FFF2-40B4-BE49-F238E27FC236}">
                  <a16:creationId xmlns:a16="http://schemas.microsoft.com/office/drawing/2014/main" id="{45AC051E-9831-D47D-8448-FF8608677C4E}"/>
                </a:ext>
              </a:extLst>
            </p:cNvPr>
            <p:cNvSpPr/>
            <p:nvPr/>
          </p:nvSpPr>
          <p:spPr>
            <a:xfrm>
              <a:off x="853292"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1" name="object 32">
              <a:extLst>
                <a:ext uri="{FF2B5EF4-FFF2-40B4-BE49-F238E27FC236}">
                  <a16:creationId xmlns:a16="http://schemas.microsoft.com/office/drawing/2014/main" id="{68EDDAD7-54E8-626F-E6D0-7C7F7076F45A}"/>
                </a:ext>
              </a:extLst>
            </p:cNvPr>
            <p:cNvSpPr/>
            <p:nvPr/>
          </p:nvSpPr>
          <p:spPr>
            <a:xfrm>
              <a:off x="101328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2" name="object 33">
              <a:extLst>
                <a:ext uri="{FF2B5EF4-FFF2-40B4-BE49-F238E27FC236}">
                  <a16:creationId xmlns:a16="http://schemas.microsoft.com/office/drawing/2014/main" id="{99FF339F-091E-9448-04B7-8D53EE8408DD}"/>
                </a:ext>
              </a:extLst>
            </p:cNvPr>
            <p:cNvSpPr/>
            <p:nvPr/>
          </p:nvSpPr>
          <p:spPr>
            <a:xfrm>
              <a:off x="53334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3" name="object 34">
              <a:extLst>
                <a:ext uri="{FF2B5EF4-FFF2-40B4-BE49-F238E27FC236}">
                  <a16:creationId xmlns:a16="http://schemas.microsoft.com/office/drawing/2014/main" id="{7F16C95B-D1CB-BB34-5E79-1A7C5381098B}"/>
                </a:ext>
              </a:extLst>
            </p:cNvPr>
            <p:cNvSpPr/>
            <p:nvPr/>
          </p:nvSpPr>
          <p:spPr>
            <a:xfrm>
              <a:off x="69331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4" name="object 35">
              <a:extLst>
                <a:ext uri="{FF2B5EF4-FFF2-40B4-BE49-F238E27FC236}">
                  <a16:creationId xmlns:a16="http://schemas.microsoft.com/office/drawing/2014/main" id="{46B896CC-9AE6-7986-EDC0-7AC9AD03165D}"/>
                </a:ext>
              </a:extLst>
            </p:cNvPr>
            <p:cNvSpPr/>
            <p:nvPr/>
          </p:nvSpPr>
          <p:spPr>
            <a:xfrm>
              <a:off x="853292"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5" name="object 36">
              <a:extLst>
                <a:ext uri="{FF2B5EF4-FFF2-40B4-BE49-F238E27FC236}">
                  <a16:creationId xmlns:a16="http://schemas.microsoft.com/office/drawing/2014/main" id="{1E780C1E-7D8A-930F-5ACF-11CD83B3BAA5}"/>
                </a:ext>
              </a:extLst>
            </p:cNvPr>
            <p:cNvSpPr/>
            <p:nvPr/>
          </p:nvSpPr>
          <p:spPr>
            <a:xfrm>
              <a:off x="101328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6" name="object 37">
              <a:extLst>
                <a:ext uri="{FF2B5EF4-FFF2-40B4-BE49-F238E27FC236}">
                  <a16:creationId xmlns:a16="http://schemas.microsoft.com/office/drawing/2014/main" id="{E7F76F03-0E81-3E2D-28F7-619A0EA56597}"/>
                </a:ext>
              </a:extLst>
            </p:cNvPr>
            <p:cNvSpPr/>
            <p:nvPr/>
          </p:nvSpPr>
          <p:spPr>
            <a:xfrm>
              <a:off x="533341"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7" name="object 38">
              <a:extLst>
                <a:ext uri="{FF2B5EF4-FFF2-40B4-BE49-F238E27FC236}">
                  <a16:creationId xmlns:a16="http://schemas.microsoft.com/office/drawing/2014/main" id="{BE85C7F0-ACD6-A49F-5675-037C857031FD}"/>
                </a:ext>
              </a:extLst>
            </p:cNvPr>
            <p:cNvSpPr/>
            <p:nvPr/>
          </p:nvSpPr>
          <p:spPr>
            <a:xfrm>
              <a:off x="69331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object 39">
              <a:extLst>
                <a:ext uri="{FF2B5EF4-FFF2-40B4-BE49-F238E27FC236}">
                  <a16:creationId xmlns:a16="http://schemas.microsoft.com/office/drawing/2014/main" id="{E84ACAE0-9B54-217D-3DA4-E301EF452AE5}"/>
                </a:ext>
              </a:extLst>
            </p:cNvPr>
            <p:cNvSpPr/>
            <p:nvPr/>
          </p:nvSpPr>
          <p:spPr>
            <a:xfrm>
              <a:off x="853290"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9" name="object 40">
              <a:extLst>
                <a:ext uri="{FF2B5EF4-FFF2-40B4-BE49-F238E27FC236}">
                  <a16:creationId xmlns:a16="http://schemas.microsoft.com/office/drawing/2014/main" id="{C036AD0D-A2CF-BA62-116D-479FB1005D4D}"/>
                </a:ext>
              </a:extLst>
            </p:cNvPr>
            <p:cNvSpPr/>
            <p:nvPr/>
          </p:nvSpPr>
          <p:spPr>
            <a:xfrm>
              <a:off x="1013280"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0" name="object 41">
              <a:extLst>
                <a:ext uri="{FF2B5EF4-FFF2-40B4-BE49-F238E27FC236}">
                  <a16:creationId xmlns:a16="http://schemas.microsoft.com/office/drawing/2014/main" id="{5F4F0BF6-2A0B-B8FE-6591-DE12EC5D6852}"/>
                </a:ext>
              </a:extLst>
            </p:cNvPr>
            <p:cNvSpPr/>
            <p:nvPr/>
          </p:nvSpPr>
          <p:spPr>
            <a:xfrm>
              <a:off x="101328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1" name="object 42">
              <a:extLst>
                <a:ext uri="{FF2B5EF4-FFF2-40B4-BE49-F238E27FC236}">
                  <a16:creationId xmlns:a16="http://schemas.microsoft.com/office/drawing/2014/main" id="{237092A3-1234-E1C9-AC21-1D847A2A10E3}"/>
                </a:ext>
              </a:extLst>
            </p:cNvPr>
            <p:cNvSpPr/>
            <p:nvPr/>
          </p:nvSpPr>
          <p:spPr>
            <a:xfrm>
              <a:off x="117325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2" name="object 43">
              <a:extLst>
                <a:ext uri="{FF2B5EF4-FFF2-40B4-BE49-F238E27FC236}">
                  <a16:creationId xmlns:a16="http://schemas.microsoft.com/office/drawing/2014/main" id="{CDC1975D-3B1F-883D-D761-1EAF337B4418}"/>
                </a:ext>
              </a:extLst>
            </p:cNvPr>
            <p:cNvSpPr/>
            <p:nvPr/>
          </p:nvSpPr>
          <p:spPr>
            <a:xfrm>
              <a:off x="1333233"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3" name="object 44">
              <a:extLst>
                <a:ext uri="{FF2B5EF4-FFF2-40B4-BE49-F238E27FC236}">
                  <a16:creationId xmlns:a16="http://schemas.microsoft.com/office/drawing/2014/main" id="{CEC29787-04C7-5CC9-C67F-0EADD12D872C}"/>
                </a:ext>
              </a:extLst>
            </p:cNvPr>
            <p:cNvSpPr/>
            <p:nvPr/>
          </p:nvSpPr>
          <p:spPr>
            <a:xfrm>
              <a:off x="149322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4" name="object 45">
              <a:extLst>
                <a:ext uri="{FF2B5EF4-FFF2-40B4-BE49-F238E27FC236}">
                  <a16:creationId xmlns:a16="http://schemas.microsoft.com/office/drawing/2014/main" id="{C977A005-A8B2-4B64-DA22-BE98226583BF}"/>
                </a:ext>
              </a:extLst>
            </p:cNvPr>
            <p:cNvSpPr/>
            <p:nvPr/>
          </p:nvSpPr>
          <p:spPr>
            <a:xfrm>
              <a:off x="1013280"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5" name="object 46">
              <a:extLst>
                <a:ext uri="{FF2B5EF4-FFF2-40B4-BE49-F238E27FC236}">
                  <a16:creationId xmlns:a16="http://schemas.microsoft.com/office/drawing/2014/main" id="{D939F0C4-85CA-537B-B6A9-144961AA5F6B}"/>
                </a:ext>
              </a:extLst>
            </p:cNvPr>
            <p:cNvSpPr/>
            <p:nvPr/>
          </p:nvSpPr>
          <p:spPr>
            <a:xfrm>
              <a:off x="117325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6" name="object 47">
              <a:extLst>
                <a:ext uri="{FF2B5EF4-FFF2-40B4-BE49-F238E27FC236}">
                  <a16:creationId xmlns:a16="http://schemas.microsoft.com/office/drawing/2014/main" id="{118A67F0-AF57-2D9F-347C-EE2B254A32B6}"/>
                </a:ext>
              </a:extLst>
            </p:cNvPr>
            <p:cNvSpPr/>
            <p:nvPr/>
          </p:nvSpPr>
          <p:spPr>
            <a:xfrm>
              <a:off x="1333231"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7" name="object 48">
              <a:extLst>
                <a:ext uri="{FF2B5EF4-FFF2-40B4-BE49-F238E27FC236}">
                  <a16:creationId xmlns:a16="http://schemas.microsoft.com/office/drawing/2014/main" id="{03663CE9-4BD4-6337-CE35-6933B17A2A9E}"/>
                </a:ext>
              </a:extLst>
            </p:cNvPr>
            <p:cNvSpPr/>
            <p:nvPr/>
          </p:nvSpPr>
          <p:spPr>
            <a:xfrm>
              <a:off x="1493221"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8" name="object 49">
              <a:extLst>
                <a:ext uri="{FF2B5EF4-FFF2-40B4-BE49-F238E27FC236}">
                  <a16:creationId xmlns:a16="http://schemas.microsoft.com/office/drawing/2014/main" id="{E116312B-741C-116A-BD6D-2F64DF349960}"/>
                </a:ext>
              </a:extLst>
            </p:cNvPr>
            <p:cNvSpPr/>
            <p:nvPr/>
          </p:nvSpPr>
          <p:spPr>
            <a:xfrm>
              <a:off x="101328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9" name="object 50">
              <a:extLst>
                <a:ext uri="{FF2B5EF4-FFF2-40B4-BE49-F238E27FC236}">
                  <a16:creationId xmlns:a16="http://schemas.microsoft.com/office/drawing/2014/main" id="{3831DD07-D931-EDED-8B51-BD0C0115580E}"/>
                </a:ext>
              </a:extLst>
            </p:cNvPr>
            <p:cNvSpPr/>
            <p:nvPr/>
          </p:nvSpPr>
          <p:spPr>
            <a:xfrm>
              <a:off x="117325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0" name="object 51">
              <a:extLst>
                <a:ext uri="{FF2B5EF4-FFF2-40B4-BE49-F238E27FC236}">
                  <a16:creationId xmlns:a16="http://schemas.microsoft.com/office/drawing/2014/main" id="{C5CAAB31-40E1-7EF8-79BF-190960150871}"/>
                </a:ext>
              </a:extLst>
            </p:cNvPr>
            <p:cNvSpPr/>
            <p:nvPr/>
          </p:nvSpPr>
          <p:spPr>
            <a:xfrm>
              <a:off x="1333233"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1" name="object 52">
              <a:extLst>
                <a:ext uri="{FF2B5EF4-FFF2-40B4-BE49-F238E27FC236}">
                  <a16:creationId xmlns:a16="http://schemas.microsoft.com/office/drawing/2014/main" id="{346A5CC5-0DF0-5604-C0DC-640A40E8C96D}"/>
                </a:ext>
              </a:extLst>
            </p:cNvPr>
            <p:cNvSpPr/>
            <p:nvPr/>
          </p:nvSpPr>
          <p:spPr>
            <a:xfrm>
              <a:off x="149322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2" name="object 53">
              <a:extLst>
                <a:ext uri="{FF2B5EF4-FFF2-40B4-BE49-F238E27FC236}">
                  <a16:creationId xmlns:a16="http://schemas.microsoft.com/office/drawing/2014/main" id="{E9E2FB84-EDFF-647D-9E9B-9B53C2978A4E}"/>
                </a:ext>
              </a:extLst>
            </p:cNvPr>
            <p:cNvSpPr/>
            <p:nvPr/>
          </p:nvSpPr>
          <p:spPr>
            <a:xfrm>
              <a:off x="101328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3" name="object 54">
              <a:extLst>
                <a:ext uri="{FF2B5EF4-FFF2-40B4-BE49-F238E27FC236}">
                  <a16:creationId xmlns:a16="http://schemas.microsoft.com/office/drawing/2014/main" id="{4789DD6D-59B6-A58E-F004-E21269BD930A}"/>
                </a:ext>
              </a:extLst>
            </p:cNvPr>
            <p:cNvSpPr/>
            <p:nvPr/>
          </p:nvSpPr>
          <p:spPr>
            <a:xfrm>
              <a:off x="117325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4" name="object 55">
              <a:extLst>
                <a:ext uri="{FF2B5EF4-FFF2-40B4-BE49-F238E27FC236}">
                  <a16:creationId xmlns:a16="http://schemas.microsoft.com/office/drawing/2014/main" id="{D8330349-699C-0571-B7EA-BAB026131C21}"/>
                </a:ext>
              </a:extLst>
            </p:cNvPr>
            <p:cNvSpPr/>
            <p:nvPr/>
          </p:nvSpPr>
          <p:spPr>
            <a:xfrm>
              <a:off x="1333233"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5" name="object 56">
              <a:extLst>
                <a:ext uri="{FF2B5EF4-FFF2-40B4-BE49-F238E27FC236}">
                  <a16:creationId xmlns:a16="http://schemas.microsoft.com/office/drawing/2014/main" id="{D5F7ACEA-D1F1-F4F6-303B-2C95A59BF828}"/>
                </a:ext>
              </a:extLst>
            </p:cNvPr>
            <p:cNvSpPr/>
            <p:nvPr/>
          </p:nvSpPr>
          <p:spPr>
            <a:xfrm>
              <a:off x="149322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6" name="object 57">
              <a:extLst>
                <a:ext uri="{FF2B5EF4-FFF2-40B4-BE49-F238E27FC236}">
                  <a16:creationId xmlns:a16="http://schemas.microsoft.com/office/drawing/2014/main" id="{DFD2A1D9-E47C-EA51-4FE6-CA24542D9C56}"/>
                </a:ext>
              </a:extLst>
            </p:cNvPr>
            <p:cNvSpPr/>
            <p:nvPr/>
          </p:nvSpPr>
          <p:spPr>
            <a:xfrm>
              <a:off x="1013280"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7" name="object 58">
              <a:extLst>
                <a:ext uri="{FF2B5EF4-FFF2-40B4-BE49-F238E27FC236}">
                  <a16:creationId xmlns:a16="http://schemas.microsoft.com/office/drawing/2014/main" id="{92ED5CB5-DEE6-7C4D-6F02-B48124ECA4CF}"/>
                </a:ext>
              </a:extLst>
            </p:cNvPr>
            <p:cNvSpPr/>
            <p:nvPr/>
          </p:nvSpPr>
          <p:spPr>
            <a:xfrm>
              <a:off x="117325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8" name="object 59">
              <a:extLst>
                <a:ext uri="{FF2B5EF4-FFF2-40B4-BE49-F238E27FC236}">
                  <a16:creationId xmlns:a16="http://schemas.microsoft.com/office/drawing/2014/main" id="{5BFAB73C-BA9F-D71B-1E62-314E1D978F6A}"/>
                </a:ext>
              </a:extLst>
            </p:cNvPr>
            <p:cNvSpPr/>
            <p:nvPr/>
          </p:nvSpPr>
          <p:spPr>
            <a:xfrm>
              <a:off x="1333231"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9" name="object 60">
              <a:extLst>
                <a:ext uri="{FF2B5EF4-FFF2-40B4-BE49-F238E27FC236}">
                  <a16:creationId xmlns:a16="http://schemas.microsoft.com/office/drawing/2014/main" id="{88FFA714-1E3E-1166-A6FA-114D1BDE934D}"/>
                </a:ext>
              </a:extLst>
            </p:cNvPr>
            <p:cNvSpPr/>
            <p:nvPr/>
          </p:nvSpPr>
          <p:spPr>
            <a:xfrm>
              <a:off x="1493221"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0" name="object 61">
              <a:extLst>
                <a:ext uri="{FF2B5EF4-FFF2-40B4-BE49-F238E27FC236}">
                  <a16:creationId xmlns:a16="http://schemas.microsoft.com/office/drawing/2014/main" id="{FEDE077A-8D48-EDFF-4763-DDDBF5BDFD03}"/>
                </a:ext>
              </a:extLst>
            </p:cNvPr>
            <p:cNvSpPr/>
            <p:nvPr/>
          </p:nvSpPr>
          <p:spPr>
            <a:xfrm>
              <a:off x="101328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1" name="object 62">
              <a:extLst>
                <a:ext uri="{FF2B5EF4-FFF2-40B4-BE49-F238E27FC236}">
                  <a16:creationId xmlns:a16="http://schemas.microsoft.com/office/drawing/2014/main" id="{C44887A5-1E69-D927-6E5F-1748FF624931}"/>
                </a:ext>
              </a:extLst>
            </p:cNvPr>
            <p:cNvSpPr/>
            <p:nvPr/>
          </p:nvSpPr>
          <p:spPr>
            <a:xfrm>
              <a:off x="117325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2" name="object 63">
              <a:extLst>
                <a:ext uri="{FF2B5EF4-FFF2-40B4-BE49-F238E27FC236}">
                  <a16:creationId xmlns:a16="http://schemas.microsoft.com/office/drawing/2014/main" id="{A108E884-E052-84C0-3DAA-A871633A20EF}"/>
                </a:ext>
              </a:extLst>
            </p:cNvPr>
            <p:cNvSpPr/>
            <p:nvPr/>
          </p:nvSpPr>
          <p:spPr>
            <a:xfrm>
              <a:off x="1333233"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3" name="object 64">
              <a:extLst>
                <a:ext uri="{FF2B5EF4-FFF2-40B4-BE49-F238E27FC236}">
                  <a16:creationId xmlns:a16="http://schemas.microsoft.com/office/drawing/2014/main" id="{2B5A7DEE-A90B-C47A-3D6A-42B1E7B9B69B}"/>
                </a:ext>
              </a:extLst>
            </p:cNvPr>
            <p:cNvSpPr/>
            <p:nvPr/>
          </p:nvSpPr>
          <p:spPr>
            <a:xfrm>
              <a:off x="149322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4" name="object 65">
              <a:extLst>
                <a:ext uri="{FF2B5EF4-FFF2-40B4-BE49-F238E27FC236}">
                  <a16:creationId xmlns:a16="http://schemas.microsoft.com/office/drawing/2014/main" id="{A5F56392-3BFF-0AF6-448C-663B8BCDB2D5}"/>
                </a:ext>
              </a:extLst>
            </p:cNvPr>
            <p:cNvSpPr/>
            <p:nvPr/>
          </p:nvSpPr>
          <p:spPr>
            <a:xfrm>
              <a:off x="101328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5" name="object 66">
              <a:extLst>
                <a:ext uri="{FF2B5EF4-FFF2-40B4-BE49-F238E27FC236}">
                  <a16:creationId xmlns:a16="http://schemas.microsoft.com/office/drawing/2014/main" id="{45436C21-620E-E3DB-AF89-C3A1B7AA2727}"/>
                </a:ext>
              </a:extLst>
            </p:cNvPr>
            <p:cNvSpPr/>
            <p:nvPr/>
          </p:nvSpPr>
          <p:spPr>
            <a:xfrm>
              <a:off x="117325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6" name="object 67">
              <a:extLst>
                <a:ext uri="{FF2B5EF4-FFF2-40B4-BE49-F238E27FC236}">
                  <a16:creationId xmlns:a16="http://schemas.microsoft.com/office/drawing/2014/main" id="{773D3F8B-B554-86CD-B785-70B2247B9A3D}"/>
                </a:ext>
              </a:extLst>
            </p:cNvPr>
            <p:cNvSpPr/>
            <p:nvPr/>
          </p:nvSpPr>
          <p:spPr>
            <a:xfrm>
              <a:off x="1333233"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7" name="object 68">
              <a:extLst>
                <a:ext uri="{FF2B5EF4-FFF2-40B4-BE49-F238E27FC236}">
                  <a16:creationId xmlns:a16="http://schemas.microsoft.com/office/drawing/2014/main" id="{08C60BF7-6503-82AD-CB49-A134078AFA46}"/>
                </a:ext>
              </a:extLst>
            </p:cNvPr>
            <p:cNvSpPr/>
            <p:nvPr/>
          </p:nvSpPr>
          <p:spPr>
            <a:xfrm>
              <a:off x="149322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8" name="object 69">
              <a:extLst>
                <a:ext uri="{FF2B5EF4-FFF2-40B4-BE49-F238E27FC236}">
                  <a16:creationId xmlns:a16="http://schemas.microsoft.com/office/drawing/2014/main" id="{7D8ADCF0-CF9F-1E4D-1E70-8E5F4C7EDBD9}"/>
                </a:ext>
              </a:extLst>
            </p:cNvPr>
            <p:cNvSpPr/>
            <p:nvPr/>
          </p:nvSpPr>
          <p:spPr>
            <a:xfrm>
              <a:off x="1013280"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9" name="object 70">
              <a:extLst>
                <a:ext uri="{FF2B5EF4-FFF2-40B4-BE49-F238E27FC236}">
                  <a16:creationId xmlns:a16="http://schemas.microsoft.com/office/drawing/2014/main" id="{C6712138-1667-5B4A-9039-81639EC3319A}"/>
                </a:ext>
              </a:extLst>
            </p:cNvPr>
            <p:cNvSpPr/>
            <p:nvPr/>
          </p:nvSpPr>
          <p:spPr>
            <a:xfrm>
              <a:off x="117325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0" name="object 71">
              <a:extLst>
                <a:ext uri="{FF2B5EF4-FFF2-40B4-BE49-F238E27FC236}">
                  <a16:creationId xmlns:a16="http://schemas.microsoft.com/office/drawing/2014/main" id="{AB5B8C6E-928F-69D8-D12C-325101E645B2}"/>
                </a:ext>
              </a:extLst>
            </p:cNvPr>
            <p:cNvSpPr/>
            <p:nvPr/>
          </p:nvSpPr>
          <p:spPr>
            <a:xfrm>
              <a:off x="1333231"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1" name="object 72">
              <a:extLst>
                <a:ext uri="{FF2B5EF4-FFF2-40B4-BE49-F238E27FC236}">
                  <a16:creationId xmlns:a16="http://schemas.microsoft.com/office/drawing/2014/main" id="{993963E3-DB91-2E76-FC66-5BE241C8945B}"/>
                </a:ext>
              </a:extLst>
            </p:cNvPr>
            <p:cNvSpPr/>
            <p:nvPr/>
          </p:nvSpPr>
          <p:spPr>
            <a:xfrm>
              <a:off x="1493221"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grpSp>
      <p:sp>
        <p:nvSpPr>
          <p:cNvPr id="92" name="object 6">
            <a:extLst>
              <a:ext uri="{FF2B5EF4-FFF2-40B4-BE49-F238E27FC236}">
                <a16:creationId xmlns:a16="http://schemas.microsoft.com/office/drawing/2014/main" id="{F53074B0-0381-B37B-39FE-552E74F7AC36}"/>
              </a:ext>
            </a:extLst>
          </p:cNvPr>
          <p:cNvSpPr/>
          <p:nvPr/>
        </p:nvSpPr>
        <p:spPr>
          <a:xfrm>
            <a:off x="0" y="0"/>
            <a:ext cx="778669" cy="787718"/>
          </a:xfrm>
          <a:custGeom>
            <a:avLst/>
            <a:gdLst/>
            <a:ahLst/>
            <a:cxnLst/>
            <a:rect l="l" t="t" r="r" b="b"/>
            <a:pathLst>
              <a:path w="1038225" h="1050290">
                <a:moveTo>
                  <a:pt x="1036748" y="0"/>
                </a:moveTo>
                <a:lnTo>
                  <a:pt x="0" y="0"/>
                </a:lnTo>
                <a:lnTo>
                  <a:pt x="0" y="1049691"/>
                </a:lnTo>
                <a:lnTo>
                  <a:pt x="9282" y="1050066"/>
                </a:lnTo>
                <a:lnTo>
                  <a:pt x="93623" y="1046657"/>
                </a:lnTo>
                <a:lnTo>
                  <a:pt x="176086" y="1036606"/>
                </a:lnTo>
                <a:lnTo>
                  <a:pt x="256407" y="1020179"/>
                </a:lnTo>
                <a:lnTo>
                  <a:pt x="334320" y="997639"/>
                </a:lnTo>
                <a:lnTo>
                  <a:pt x="409562" y="969252"/>
                </a:lnTo>
                <a:lnTo>
                  <a:pt x="481868" y="935282"/>
                </a:lnTo>
                <a:lnTo>
                  <a:pt x="550972" y="895994"/>
                </a:lnTo>
                <a:lnTo>
                  <a:pt x="616611" y="851653"/>
                </a:lnTo>
                <a:lnTo>
                  <a:pt x="678520" y="802522"/>
                </a:lnTo>
                <a:lnTo>
                  <a:pt x="736433" y="748868"/>
                </a:lnTo>
                <a:lnTo>
                  <a:pt x="790087" y="690954"/>
                </a:lnTo>
                <a:lnTo>
                  <a:pt x="839217" y="629045"/>
                </a:lnTo>
                <a:lnTo>
                  <a:pt x="883558" y="563406"/>
                </a:lnTo>
                <a:lnTo>
                  <a:pt x="922845" y="494302"/>
                </a:lnTo>
                <a:lnTo>
                  <a:pt x="956815" y="421996"/>
                </a:lnTo>
                <a:lnTo>
                  <a:pt x="985201" y="346755"/>
                </a:lnTo>
                <a:lnTo>
                  <a:pt x="1007740" y="268842"/>
                </a:lnTo>
                <a:lnTo>
                  <a:pt x="1024167" y="188522"/>
                </a:lnTo>
                <a:lnTo>
                  <a:pt x="1034217" y="106061"/>
                </a:lnTo>
                <a:lnTo>
                  <a:pt x="1037626" y="21721"/>
                </a:lnTo>
                <a:lnTo>
                  <a:pt x="1036748" y="0"/>
                </a:lnTo>
              </a:path>
            </a:pathLst>
          </a:custGeom>
          <a:solidFill>
            <a:srgbClr val="5F2364"/>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97">
            <a:extLst>
              <a:ext uri="{FF2B5EF4-FFF2-40B4-BE49-F238E27FC236}">
                <a16:creationId xmlns:a16="http://schemas.microsoft.com/office/drawing/2014/main" id="{354AB644-12FB-192E-6E68-2AE4411DEC5A}"/>
              </a:ext>
            </a:extLst>
          </p:cNvPr>
          <p:cNvSpPr/>
          <p:nvPr/>
        </p:nvSpPr>
        <p:spPr>
          <a:xfrm flipV="1">
            <a:off x="1165919" y="758659"/>
            <a:ext cx="4915624" cy="45719"/>
          </a:xfrm>
          <a:custGeom>
            <a:avLst/>
            <a:gdLst/>
            <a:ahLst/>
            <a:cxnLst/>
            <a:rect l="l" t="t" r="r" b="b"/>
            <a:pathLst>
              <a:path w="3352800">
                <a:moveTo>
                  <a:pt x="0" y="0"/>
                </a:moveTo>
                <a:lnTo>
                  <a:pt x="3352800" y="0"/>
                </a:lnTo>
              </a:path>
            </a:pathLst>
          </a:custGeom>
          <a:ln w="50800">
            <a:solidFill>
              <a:schemeClr val="accent5">
                <a:lumMod val="50000"/>
              </a:schemeClr>
            </a:solidFill>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 name="object 2">
            <a:extLst>
              <a:ext uri="{FF2B5EF4-FFF2-40B4-BE49-F238E27FC236}">
                <a16:creationId xmlns:a16="http://schemas.microsoft.com/office/drawing/2014/main" id="{AD626A9F-D14D-F957-2CF2-780406E19E89}"/>
              </a:ext>
            </a:extLst>
          </p:cNvPr>
          <p:cNvSpPr/>
          <p:nvPr/>
        </p:nvSpPr>
        <p:spPr>
          <a:xfrm>
            <a:off x="8961780" y="1"/>
            <a:ext cx="1484948" cy="966311"/>
          </a:xfrm>
          <a:custGeom>
            <a:avLst/>
            <a:gdLst/>
            <a:ahLst/>
            <a:cxnLst/>
            <a:rect l="l" t="t" r="r" b="b"/>
            <a:pathLst>
              <a:path w="1979930" h="1288415">
                <a:moveTo>
                  <a:pt x="596671" y="0"/>
                </a:moveTo>
                <a:lnTo>
                  <a:pt x="142598" y="454076"/>
                </a:lnTo>
                <a:lnTo>
                  <a:pt x="115505" y="483471"/>
                </a:lnTo>
                <a:lnTo>
                  <a:pt x="91263" y="514499"/>
                </a:lnTo>
                <a:lnTo>
                  <a:pt x="69873" y="546979"/>
                </a:lnTo>
                <a:lnTo>
                  <a:pt x="51335" y="580730"/>
                </a:lnTo>
                <a:lnTo>
                  <a:pt x="35649" y="615570"/>
                </a:lnTo>
                <a:lnTo>
                  <a:pt x="12833" y="687791"/>
                </a:lnTo>
                <a:lnTo>
                  <a:pt x="1425" y="762190"/>
                </a:lnTo>
                <a:lnTo>
                  <a:pt x="0" y="799752"/>
                </a:lnTo>
                <a:lnTo>
                  <a:pt x="1425" y="837315"/>
                </a:lnTo>
                <a:lnTo>
                  <a:pt x="12833" y="911714"/>
                </a:lnTo>
                <a:lnTo>
                  <a:pt x="35649" y="983936"/>
                </a:lnTo>
                <a:lnTo>
                  <a:pt x="51335" y="1018777"/>
                </a:lnTo>
                <a:lnTo>
                  <a:pt x="69873" y="1052529"/>
                </a:lnTo>
                <a:lnTo>
                  <a:pt x="91263" y="1085011"/>
                </a:lnTo>
                <a:lnTo>
                  <a:pt x="115505" y="1116041"/>
                </a:lnTo>
                <a:lnTo>
                  <a:pt x="142598" y="1145438"/>
                </a:lnTo>
                <a:lnTo>
                  <a:pt x="171995" y="1172532"/>
                </a:lnTo>
                <a:lnTo>
                  <a:pt x="203025" y="1196774"/>
                </a:lnTo>
                <a:lnTo>
                  <a:pt x="235507" y="1218163"/>
                </a:lnTo>
                <a:lnTo>
                  <a:pt x="269259" y="1236701"/>
                </a:lnTo>
                <a:lnTo>
                  <a:pt x="304100" y="1252387"/>
                </a:lnTo>
                <a:lnTo>
                  <a:pt x="376322" y="1275203"/>
                </a:lnTo>
                <a:lnTo>
                  <a:pt x="450722" y="1286611"/>
                </a:lnTo>
                <a:lnTo>
                  <a:pt x="488284" y="1288037"/>
                </a:lnTo>
                <a:lnTo>
                  <a:pt x="525847" y="1286611"/>
                </a:lnTo>
                <a:lnTo>
                  <a:pt x="600246" y="1275203"/>
                </a:lnTo>
                <a:lnTo>
                  <a:pt x="672466" y="1252387"/>
                </a:lnTo>
                <a:lnTo>
                  <a:pt x="707306" y="1236701"/>
                </a:lnTo>
                <a:lnTo>
                  <a:pt x="741057" y="1218163"/>
                </a:lnTo>
                <a:lnTo>
                  <a:pt x="773537" y="1196774"/>
                </a:lnTo>
                <a:lnTo>
                  <a:pt x="804566" y="1172532"/>
                </a:lnTo>
                <a:lnTo>
                  <a:pt x="833961" y="1145438"/>
                </a:lnTo>
                <a:lnTo>
                  <a:pt x="1979399" y="0"/>
                </a:lnTo>
                <a:lnTo>
                  <a:pt x="596671" y="0"/>
                </a:lnTo>
              </a:path>
            </a:pathLst>
          </a:custGeom>
          <a:solidFill>
            <a:srgbClr val="FFFFFF"/>
          </a:solidFill>
          <a:effectLst>
            <a:outerShdw blurRad="317500" dist="50800" dir="5400000" algn="ctr" rotWithShape="0">
              <a:schemeClr val="tx1">
                <a:alpha val="20000"/>
              </a:schemeClr>
            </a:outerShdw>
          </a:effectLst>
        </p:spPr>
        <p:txBody>
          <a:bodyPr wrap="square" lIns="0" tIns="0" rIns="0" bIns="0" rtlCol="0"/>
          <a:lstStyle/>
          <a:p>
            <a:endParaRPr sz="1350"/>
          </a:p>
        </p:txBody>
      </p:sp>
      <p:sp>
        <p:nvSpPr>
          <p:cNvPr id="3" name="Rectangle 2">
            <a:extLst>
              <a:ext uri="{FF2B5EF4-FFF2-40B4-BE49-F238E27FC236}">
                <a16:creationId xmlns:a16="http://schemas.microsoft.com/office/drawing/2014/main" id="{1866E7A1-D95A-A329-DE33-E68C4723E23A}"/>
              </a:ext>
            </a:extLst>
          </p:cNvPr>
          <p:cNvSpPr/>
          <p:nvPr/>
        </p:nvSpPr>
        <p:spPr>
          <a:xfrm>
            <a:off x="476661" y="1395074"/>
            <a:ext cx="10972800" cy="874002"/>
          </a:xfrm>
          <a:prstGeom prst="rect">
            <a:avLst/>
          </a:prstGeom>
          <a:noFill/>
          <a:ln w="28575" cap="flat" cmpd="sng" algn="ctr">
            <a:noFill/>
            <a:prstDash val="solid"/>
          </a:ln>
          <a:effectLst/>
        </p:spPr>
        <p:txBody>
          <a:bodyPr lIns="900000" rIns="360000" rtlCol="0" anchor="ctr"/>
          <a:lstStyle/>
          <a:p>
            <a:pPr algn="just" defTabSz="913943" eaLnBrk="0" hangingPunct="0">
              <a:defRPr/>
            </a:pPr>
            <a:r>
              <a:rPr lang="es-MX" sz="1400" i="1" kern="0" dirty="0">
                <a:solidFill>
                  <a:srgbClr val="5F2364"/>
                </a:solidFill>
                <a:latin typeface="Century Gothic" panose="020B0502020202020204" pitchFamily="34" charset="0"/>
                <a:cs typeface="Tahoma" pitchFamily="34" charset="0"/>
              </a:rPr>
              <a:t>La complejidad e interconexión de los riesgos climáticos, tanto de transición como físicos, con otros riesgos existentes, convierten en un desafío para las Instituciones Financieras integrar completamente el riesgo climático en sus marcos de gestión. Este desafío variará entre Instituciones según factores como el tamaño, la presencia geográfica, la complejidad de la cartera y la concentración en la industria.</a:t>
            </a:r>
          </a:p>
        </p:txBody>
      </p:sp>
      <p:sp>
        <p:nvSpPr>
          <p:cNvPr id="8" name="Content Placeholder 4">
            <a:extLst>
              <a:ext uri="{FF2B5EF4-FFF2-40B4-BE49-F238E27FC236}">
                <a16:creationId xmlns:a16="http://schemas.microsoft.com/office/drawing/2014/main" id="{D811122D-6D27-01FA-5856-907C509CC221}"/>
              </a:ext>
            </a:extLst>
          </p:cNvPr>
          <p:cNvSpPr txBox="1">
            <a:spLocks/>
          </p:cNvSpPr>
          <p:nvPr/>
        </p:nvSpPr>
        <p:spPr>
          <a:xfrm>
            <a:off x="5875855" y="2521929"/>
            <a:ext cx="5063490" cy="3866002"/>
          </a:xfrm>
          <a:prstGeom prst="rect">
            <a:avLst/>
          </a:prstGeom>
        </p:spPr>
        <p:txBody>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s-ES" sz="2000" b="1" i="0" u="none" strike="noStrike" kern="1200" cap="none" spc="0" normalizeH="0" baseline="0" noProof="0" dirty="0">
                <a:ln>
                  <a:noFill/>
                </a:ln>
                <a:solidFill>
                  <a:srgbClr val="27ACAA"/>
                </a:solidFill>
                <a:effectLst/>
                <a:uLnTx/>
                <a:uFillTx/>
                <a:latin typeface="Century Gothic" panose="020B0502020202020204" pitchFamily="34" charset="0"/>
              </a:rPr>
              <a:t> </a:t>
            </a:r>
            <a:r>
              <a:rPr kumimoji="0" lang="es-ES" sz="2000" b="1" i="0" u="none" strike="noStrike" kern="1200" cap="none" spc="0" normalizeH="0" baseline="0" noProof="0" dirty="0">
                <a:ln>
                  <a:noFill/>
                </a:ln>
                <a:solidFill>
                  <a:srgbClr val="5F2364"/>
                </a:solidFill>
                <a:effectLst/>
                <a:uLnTx/>
                <a:uFillTx/>
                <a:latin typeface="Century Gothic" panose="020B0502020202020204" pitchFamily="34" charset="0"/>
              </a:rPr>
              <a:t>Marcos de Referencia</a:t>
            </a:r>
          </a:p>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s-ES" sz="1400" b="0" i="0" u="none" strike="noStrike" kern="1200" cap="none" spc="0" normalizeH="0" baseline="0" noProof="0" dirty="0">
              <a:ln>
                <a:noFill/>
              </a:ln>
              <a:solidFill>
                <a:prstClr val="white"/>
              </a:solidFill>
              <a:effectLst/>
              <a:uLnTx/>
              <a:uFillTx/>
              <a:latin typeface="Century Gothic" panose="020B0502020202020204" pitchFamily="34" charset="0"/>
            </a:endParaRP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Principios del Basilea para la gestión y supervisión eficaces de los riesgos financieros climáticos. (BCSB 2022)</a:t>
            </a: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endPar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Informe del Banco de Inglaterra sobre los riesgos relacionados con el clima y los marcos reguladores del capital. (</a:t>
            </a:r>
            <a:r>
              <a:rPr kumimoji="0" lang="es-MX" sz="1200" b="0" i="0" u="none" strike="noStrike" kern="1200" cap="none" spc="0" normalizeH="0" baseline="0" noProof="0" dirty="0" err="1">
                <a:ln>
                  <a:noFill/>
                </a:ln>
                <a:solidFill>
                  <a:schemeClr val="tx1"/>
                </a:solidFill>
                <a:effectLst/>
                <a:uLnTx/>
                <a:uFillTx/>
                <a:latin typeface="Century Gothic" panose="020B0502020202020204" pitchFamily="34" charset="0"/>
              </a:rPr>
              <a:t>BoE</a:t>
            </a: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 2023)</a:t>
            </a: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endPar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Las Normas Internacionales de Información Financiera sobre Sostenibilidad- NIIF S1 y NIIF S2. (ISSB 2023)</a:t>
            </a: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endPar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Reglas de la Comisión de Bolsa y Valores de Estados Unidos  para las divulgaciones relacionadas con el clima para inversores. (SEC 2024)</a:t>
            </a: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endPar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R="0" lvl="1" algn="just" defTabSz="685434" rtl="0" eaLnBrk="1" fontAlgn="auto" latinLnBrk="0" hangingPunct="1">
              <a:lnSpc>
                <a:spcPct val="100000"/>
              </a:lnSpc>
              <a:spcBef>
                <a:spcPct val="20000"/>
              </a:spcBef>
              <a:spcAft>
                <a:spcPts val="0"/>
              </a:spcAft>
              <a:buClr>
                <a:srgbClr val="5F2364"/>
              </a:buClr>
              <a:buSzPct val="11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Directrices de la </a:t>
            </a:r>
            <a:r>
              <a:rPr kumimoji="0" lang="es-MX" sz="1200" b="0" i="0" u="none" strike="noStrike" kern="1200" cap="none" spc="0" normalizeH="0" baseline="0" noProof="0" dirty="0">
                <a:ln>
                  <a:noFill/>
                </a:ln>
                <a:solidFill>
                  <a:schemeClr val="tx1"/>
                </a:solidFill>
                <a:effectLst/>
                <a:uLnTx/>
                <a:uFillTx/>
                <a:latin typeface="Century Gothic" panose="020B0502020202020204" pitchFamily="34" charset="0"/>
              </a:rPr>
              <a:t>Autoridad Bancaria Europea sobre la gestión de los riesgos ESG. (EBA 2025)</a:t>
            </a:r>
            <a:endParaRPr kumimoji="0" lang="es-ES"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534639" marR="0" lvl="1" indent="-267319"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cxnSp>
        <p:nvCxnSpPr>
          <p:cNvPr id="9" name="Straight Connector 8">
            <a:extLst>
              <a:ext uri="{FF2B5EF4-FFF2-40B4-BE49-F238E27FC236}">
                <a16:creationId xmlns:a16="http://schemas.microsoft.com/office/drawing/2014/main" id="{41FD5DBA-98C7-ACA2-CA84-59B151569EAF}"/>
              </a:ext>
            </a:extLst>
          </p:cNvPr>
          <p:cNvCxnSpPr>
            <a:cxnSpLocks/>
          </p:cNvCxnSpPr>
          <p:nvPr/>
        </p:nvCxnSpPr>
        <p:spPr>
          <a:xfrm>
            <a:off x="5705389" y="2620516"/>
            <a:ext cx="0" cy="3866002"/>
          </a:xfrm>
          <a:prstGeom prst="line">
            <a:avLst/>
          </a:prstGeom>
          <a:ln w="28575">
            <a:solidFill>
              <a:srgbClr val="5F2364"/>
            </a:solidFill>
            <a:prstDash val="solid"/>
          </a:ln>
        </p:spPr>
      </p:cxnSp>
      <p:pic>
        <p:nvPicPr>
          <p:cNvPr id="10" name="Graphic 9" descr="Earth globe: Americas with solid fill">
            <a:extLst>
              <a:ext uri="{FF2B5EF4-FFF2-40B4-BE49-F238E27FC236}">
                <a16:creationId xmlns:a16="http://schemas.microsoft.com/office/drawing/2014/main" id="{FF6358BA-87C9-9B8E-02FA-2342272002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4261" y="1319616"/>
            <a:ext cx="914400" cy="914400"/>
          </a:xfrm>
          <a:prstGeom prst="rect">
            <a:avLst/>
          </a:prstGeom>
        </p:spPr>
      </p:pic>
      <p:sp>
        <p:nvSpPr>
          <p:cNvPr id="11" name="Freeform 334">
            <a:extLst>
              <a:ext uri="{FF2B5EF4-FFF2-40B4-BE49-F238E27FC236}">
                <a16:creationId xmlns:a16="http://schemas.microsoft.com/office/drawing/2014/main" id="{8C518D23-B772-84E6-1B3A-6E24FF9E3097}"/>
              </a:ext>
            </a:extLst>
          </p:cNvPr>
          <p:cNvSpPr/>
          <p:nvPr/>
        </p:nvSpPr>
        <p:spPr>
          <a:xfrm>
            <a:off x="1005931" y="2663778"/>
            <a:ext cx="1241550" cy="1227963"/>
          </a:xfrm>
          <a:custGeom>
            <a:avLst/>
            <a:gdLst/>
            <a:ahLst/>
            <a:cxnLst/>
            <a:rect l="0" t="0" r="0" b="0"/>
            <a:pathLst>
              <a:path w="1085380" h="1662049">
                <a:moveTo>
                  <a:pt x="0" y="1662049"/>
                </a:moveTo>
                <a:lnTo>
                  <a:pt x="1085380" y="1662049"/>
                </a:lnTo>
                <a:lnTo>
                  <a:pt x="1085380" y="0"/>
                </a:lnTo>
                <a:lnTo>
                  <a:pt x="0" y="0"/>
                </a:lnTo>
                <a:lnTo>
                  <a:pt x="0" y="1662049"/>
                </a:lnTo>
                <a:close/>
              </a:path>
            </a:pathLst>
          </a:custGeom>
          <a:solidFill>
            <a:srgbClr val="2770B0"/>
          </a:solidFill>
          <a:ln w="12700" cap="flat" cmpd="sng" algn="ctr">
            <a:noFill/>
            <a:prstDash val="solid"/>
          </a:ln>
          <a:effectLst>
            <a:outerShdw blurRad="50800" dist="38100" dir="8100000" algn="tr" rotWithShape="0">
              <a:prstClr val="black">
                <a:alpha val="40000"/>
              </a:prstClr>
            </a:outerShdw>
          </a:effectLst>
        </p:spPr>
        <p:txBody>
          <a:bodyPr/>
          <a:lstStyle/>
          <a:p>
            <a:pPr>
              <a:defRPr/>
            </a:pPr>
            <a:endParaRPr lang="en-US" kern="0" dirty="0">
              <a:solidFill>
                <a:prstClr val="white"/>
              </a:solidFill>
              <a:latin typeface="Century Gothic" panose="020B0502020202020204" pitchFamily="34" charset="0"/>
            </a:endParaRPr>
          </a:p>
        </p:txBody>
      </p:sp>
      <p:sp>
        <p:nvSpPr>
          <p:cNvPr id="12" name="Freeform 334">
            <a:extLst>
              <a:ext uri="{FF2B5EF4-FFF2-40B4-BE49-F238E27FC236}">
                <a16:creationId xmlns:a16="http://schemas.microsoft.com/office/drawing/2014/main" id="{E48FAC38-9B61-DEA1-96F5-1FE2722AF87C}"/>
              </a:ext>
            </a:extLst>
          </p:cNvPr>
          <p:cNvSpPr/>
          <p:nvPr/>
        </p:nvSpPr>
        <p:spPr>
          <a:xfrm>
            <a:off x="997465" y="3950711"/>
            <a:ext cx="1241550" cy="1227963"/>
          </a:xfrm>
          <a:custGeom>
            <a:avLst/>
            <a:gdLst/>
            <a:ahLst/>
            <a:cxnLst/>
            <a:rect l="0" t="0" r="0" b="0"/>
            <a:pathLst>
              <a:path w="1085380" h="1662049">
                <a:moveTo>
                  <a:pt x="0" y="1662049"/>
                </a:moveTo>
                <a:lnTo>
                  <a:pt x="1085380" y="1662049"/>
                </a:lnTo>
                <a:lnTo>
                  <a:pt x="1085380" y="0"/>
                </a:lnTo>
                <a:lnTo>
                  <a:pt x="0" y="0"/>
                </a:lnTo>
                <a:lnTo>
                  <a:pt x="0" y="1662049"/>
                </a:lnTo>
                <a:close/>
              </a:path>
            </a:pathLst>
          </a:custGeom>
          <a:solidFill>
            <a:srgbClr val="2770B0"/>
          </a:solidFill>
          <a:ln w="12700" cap="flat" cmpd="sng" algn="ctr">
            <a:noFill/>
            <a:prstDash val="solid"/>
          </a:ln>
          <a:effectLst>
            <a:outerShdw blurRad="50800" dist="38100" dir="8100000" algn="tr" rotWithShape="0">
              <a:prstClr val="black">
                <a:alpha val="40000"/>
              </a:prstClr>
            </a:outerShdw>
          </a:effectLst>
        </p:spPr>
        <p:txBody>
          <a:bodyPr/>
          <a:lstStyle/>
          <a:p>
            <a:pPr>
              <a:defRPr/>
            </a:pPr>
            <a:endParaRPr lang="en-US" kern="0" dirty="0">
              <a:solidFill>
                <a:prstClr val="white"/>
              </a:solidFill>
              <a:latin typeface="Century Gothic" panose="020B0502020202020204" pitchFamily="34" charset="0"/>
            </a:endParaRPr>
          </a:p>
        </p:txBody>
      </p:sp>
      <p:sp>
        <p:nvSpPr>
          <p:cNvPr id="14" name="Freeform 334">
            <a:extLst>
              <a:ext uri="{FF2B5EF4-FFF2-40B4-BE49-F238E27FC236}">
                <a16:creationId xmlns:a16="http://schemas.microsoft.com/office/drawing/2014/main" id="{ED246D7E-F33F-DBF9-C3E9-1B17F78777DA}"/>
              </a:ext>
            </a:extLst>
          </p:cNvPr>
          <p:cNvSpPr/>
          <p:nvPr/>
        </p:nvSpPr>
        <p:spPr>
          <a:xfrm>
            <a:off x="997465" y="5237644"/>
            <a:ext cx="1241550" cy="1227963"/>
          </a:xfrm>
          <a:custGeom>
            <a:avLst/>
            <a:gdLst/>
            <a:ahLst/>
            <a:cxnLst/>
            <a:rect l="0" t="0" r="0" b="0"/>
            <a:pathLst>
              <a:path w="1085380" h="1662049">
                <a:moveTo>
                  <a:pt x="0" y="1662049"/>
                </a:moveTo>
                <a:lnTo>
                  <a:pt x="1085380" y="1662049"/>
                </a:lnTo>
                <a:lnTo>
                  <a:pt x="1085380" y="0"/>
                </a:lnTo>
                <a:lnTo>
                  <a:pt x="0" y="0"/>
                </a:lnTo>
                <a:lnTo>
                  <a:pt x="0" y="1662049"/>
                </a:lnTo>
                <a:close/>
              </a:path>
            </a:pathLst>
          </a:custGeom>
          <a:solidFill>
            <a:srgbClr val="2770B0"/>
          </a:solidFill>
          <a:ln w="12700" cap="flat" cmpd="sng" algn="ctr">
            <a:noFill/>
            <a:prstDash val="solid"/>
          </a:ln>
          <a:effectLst>
            <a:outerShdw blurRad="50800" dist="38100" dir="8100000" algn="tr" rotWithShape="0">
              <a:prstClr val="black">
                <a:alpha val="40000"/>
              </a:prstClr>
            </a:outerShdw>
          </a:effectLst>
        </p:spPr>
        <p:txBody>
          <a:bodyPr/>
          <a:lstStyle/>
          <a:p>
            <a:pPr>
              <a:defRPr/>
            </a:pPr>
            <a:endParaRPr lang="en-US" kern="0" dirty="0">
              <a:solidFill>
                <a:prstClr val="white"/>
              </a:solidFill>
              <a:latin typeface="Century Gothic" panose="020B0502020202020204" pitchFamily="34" charset="0"/>
            </a:endParaRPr>
          </a:p>
        </p:txBody>
      </p:sp>
      <p:sp>
        <p:nvSpPr>
          <p:cNvPr id="15" name="TextBox 14">
            <a:extLst>
              <a:ext uri="{FF2B5EF4-FFF2-40B4-BE49-F238E27FC236}">
                <a16:creationId xmlns:a16="http://schemas.microsoft.com/office/drawing/2014/main" id="{97049AA6-73A7-9F4B-6591-71CEF019B13F}"/>
              </a:ext>
            </a:extLst>
          </p:cNvPr>
          <p:cNvSpPr txBox="1"/>
          <p:nvPr/>
        </p:nvSpPr>
        <p:spPr>
          <a:xfrm>
            <a:off x="831461" y="3496449"/>
            <a:ext cx="1590951" cy="307777"/>
          </a:xfrm>
          <a:prstGeom prst="rect">
            <a:avLst/>
          </a:prstGeom>
          <a:noFill/>
        </p:spPr>
        <p:txBody>
          <a:bodyPr wrap="square">
            <a:spAutoFit/>
          </a:bodyPr>
          <a:lstStyle/>
          <a:p>
            <a:pPr algn="ctr" defTabSz="913943">
              <a:defRPr/>
            </a:pPr>
            <a:r>
              <a:rPr lang="en-US" sz="1400" b="1" kern="0" dirty="0">
                <a:solidFill>
                  <a:srgbClr val="FFFFFF"/>
                </a:solidFill>
                <a:latin typeface="Century Gothic" panose="020B0502020202020204" pitchFamily="34" charset="0"/>
              </a:rPr>
              <a:t>Guidelines</a:t>
            </a:r>
          </a:p>
        </p:txBody>
      </p:sp>
      <p:sp>
        <p:nvSpPr>
          <p:cNvPr id="16" name="TextBox 15">
            <a:extLst>
              <a:ext uri="{FF2B5EF4-FFF2-40B4-BE49-F238E27FC236}">
                <a16:creationId xmlns:a16="http://schemas.microsoft.com/office/drawing/2014/main" id="{6CB5DA86-CD51-5DF1-53B3-92B32D62D6F9}"/>
              </a:ext>
            </a:extLst>
          </p:cNvPr>
          <p:cNvSpPr txBox="1"/>
          <p:nvPr/>
        </p:nvSpPr>
        <p:spPr>
          <a:xfrm>
            <a:off x="916098" y="4617022"/>
            <a:ext cx="1452033" cy="307777"/>
          </a:xfrm>
          <a:prstGeom prst="rect">
            <a:avLst/>
          </a:prstGeom>
          <a:noFill/>
        </p:spPr>
        <p:txBody>
          <a:bodyPr wrap="square">
            <a:spAutoFit/>
          </a:bodyPr>
          <a:lstStyle/>
          <a:p>
            <a:pPr algn="ctr" defTabSz="913943">
              <a:defRPr/>
            </a:pPr>
            <a:r>
              <a:rPr lang="en-US" sz="1400" b="1" kern="0" dirty="0">
                <a:solidFill>
                  <a:prstClr val="white"/>
                </a:solidFill>
                <a:latin typeface="Century Gothic" panose="020B0502020202020204" pitchFamily="34" charset="0"/>
              </a:rPr>
              <a:t>Assessment</a:t>
            </a:r>
            <a:endParaRPr lang="es-MX" sz="1400" b="1" kern="0" dirty="0">
              <a:solidFill>
                <a:prstClr val="white"/>
              </a:solidFill>
              <a:latin typeface="Century Gothic" panose="020B0502020202020204" pitchFamily="34" charset="0"/>
            </a:endParaRPr>
          </a:p>
        </p:txBody>
      </p:sp>
      <p:sp>
        <p:nvSpPr>
          <p:cNvPr id="18" name="TextBox 17">
            <a:extLst>
              <a:ext uri="{FF2B5EF4-FFF2-40B4-BE49-F238E27FC236}">
                <a16:creationId xmlns:a16="http://schemas.microsoft.com/office/drawing/2014/main" id="{3BC736BA-55AC-8593-DAAF-4C0139CADAEB}"/>
              </a:ext>
            </a:extLst>
          </p:cNvPr>
          <p:cNvSpPr txBox="1"/>
          <p:nvPr/>
        </p:nvSpPr>
        <p:spPr>
          <a:xfrm>
            <a:off x="1073198" y="6060309"/>
            <a:ext cx="1107015" cy="307777"/>
          </a:xfrm>
          <a:prstGeom prst="rect">
            <a:avLst/>
          </a:prstGeom>
          <a:noFill/>
        </p:spPr>
        <p:txBody>
          <a:bodyPr wrap="square">
            <a:spAutoFit/>
          </a:bodyPr>
          <a:lstStyle/>
          <a:p>
            <a:pPr algn="ctr">
              <a:defRPr/>
            </a:pPr>
            <a:r>
              <a:rPr lang="es-MX" sz="1400" b="1" kern="0" dirty="0" err="1">
                <a:solidFill>
                  <a:srgbClr val="FFFFFF"/>
                </a:solidFill>
                <a:latin typeface="Century Gothic" panose="020B0502020202020204" pitchFamily="34" charset="0"/>
              </a:rPr>
              <a:t>Skills</a:t>
            </a:r>
            <a:endParaRPr lang="es-MX" sz="1400" kern="0" dirty="0">
              <a:solidFill>
                <a:prstClr val="black"/>
              </a:solidFill>
              <a:latin typeface="Century Gothic" panose="020B0502020202020204" pitchFamily="34" charset="0"/>
            </a:endParaRPr>
          </a:p>
        </p:txBody>
      </p:sp>
      <p:sp>
        <p:nvSpPr>
          <p:cNvPr id="19" name="Freeform 73">
            <a:extLst>
              <a:ext uri="{FF2B5EF4-FFF2-40B4-BE49-F238E27FC236}">
                <a16:creationId xmlns:a16="http://schemas.microsoft.com/office/drawing/2014/main" id="{A070817A-8CA7-F33F-DF5C-CAFD645AC145}"/>
              </a:ext>
            </a:extLst>
          </p:cNvPr>
          <p:cNvSpPr>
            <a:spLocks noChangeAspect="1" noEditPoints="1"/>
          </p:cNvSpPr>
          <p:nvPr/>
        </p:nvSpPr>
        <p:spPr bwMode="auto">
          <a:xfrm>
            <a:off x="1252655" y="2827702"/>
            <a:ext cx="679632" cy="616993"/>
          </a:xfrm>
          <a:custGeom>
            <a:avLst/>
            <a:gdLst>
              <a:gd name="T0" fmla="*/ 2147483647 w 4384"/>
              <a:gd name="T1" fmla="*/ 2147483647 h 4763"/>
              <a:gd name="T2" fmla="*/ 2147483647 w 4384"/>
              <a:gd name="T3" fmla="*/ 2147483647 h 4763"/>
              <a:gd name="T4" fmla="*/ 2147483647 w 4384"/>
              <a:gd name="T5" fmla="*/ 2147483647 h 4763"/>
              <a:gd name="T6" fmla="*/ 2147483647 w 4384"/>
              <a:gd name="T7" fmla="*/ 2147483647 h 4763"/>
              <a:gd name="T8" fmla="*/ 2147483647 w 4384"/>
              <a:gd name="T9" fmla="*/ 2147483647 h 4763"/>
              <a:gd name="T10" fmla="*/ 2147483647 w 4384"/>
              <a:gd name="T11" fmla="*/ 2147483647 h 4763"/>
              <a:gd name="T12" fmla="*/ 2147483647 w 4384"/>
              <a:gd name="T13" fmla="*/ 2147483647 h 4763"/>
              <a:gd name="T14" fmla="*/ 2147483647 w 4384"/>
              <a:gd name="T15" fmla="*/ 2147483647 h 4763"/>
              <a:gd name="T16" fmla="*/ 2147483647 w 4384"/>
              <a:gd name="T17" fmla="*/ 2147483647 h 4763"/>
              <a:gd name="T18" fmla="*/ 2147483647 w 4384"/>
              <a:gd name="T19" fmla="*/ 2147483647 h 4763"/>
              <a:gd name="T20" fmla="*/ 2147483647 w 4384"/>
              <a:gd name="T21" fmla="*/ 2147483647 h 4763"/>
              <a:gd name="T22" fmla="*/ 2147483647 w 4384"/>
              <a:gd name="T23" fmla="*/ 2147483647 h 4763"/>
              <a:gd name="T24" fmla="*/ 2147483647 w 4384"/>
              <a:gd name="T25" fmla="*/ 2147483647 h 4763"/>
              <a:gd name="T26" fmla="*/ 2147483647 w 4384"/>
              <a:gd name="T27" fmla="*/ 2147483647 h 4763"/>
              <a:gd name="T28" fmla="*/ 2147483647 w 4384"/>
              <a:gd name="T29" fmla="*/ 2147483647 h 4763"/>
              <a:gd name="T30" fmla="*/ 2147483647 w 4384"/>
              <a:gd name="T31" fmla="*/ 2147483647 h 4763"/>
              <a:gd name="T32" fmla="*/ 2147483647 w 4384"/>
              <a:gd name="T33" fmla="*/ 2147483647 h 4763"/>
              <a:gd name="T34" fmla="*/ 2147483647 w 4384"/>
              <a:gd name="T35" fmla="*/ 2147483647 h 4763"/>
              <a:gd name="T36" fmla="*/ 2147483647 w 4384"/>
              <a:gd name="T37" fmla="*/ 2147483647 h 4763"/>
              <a:gd name="T38" fmla="*/ 2147483647 w 4384"/>
              <a:gd name="T39" fmla="*/ 2147483647 h 4763"/>
              <a:gd name="T40" fmla="*/ 2147483647 w 4384"/>
              <a:gd name="T41" fmla="*/ 2147483647 h 4763"/>
              <a:gd name="T42" fmla="*/ 2147483647 w 4384"/>
              <a:gd name="T43" fmla="*/ 2147483647 h 4763"/>
              <a:gd name="T44" fmla="*/ 2147483647 w 4384"/>
              <a:gd name="T45" fmla="*/ 2147483647 h 4763"/>
              <a:gd name="T46" fmla="*/ 2147483647 w 4384"/>
              <a:gd name="T47" fmla="*/ 2147483647 h 4763"/>
              <a:gd name="T48" fmla="*/ 2147483647 w 4384"/>
              <a:gd name="T49" fmla="*/ 2147483647 h 4763"/>
              <a:gd name="T50" fmla="*/ 2147483647 w 4384"/>
              <a:gd name="T51" fmla="*/ 2147483647 h 4763"/>
              <a:gd name="T52" fmla="*/ 2147483647 w 4384"/>
              <a:gd name="T53" fmla="*/ 2147483647 h 4763"/>
              <a:gd name="T54" fmla="*/ 2147483647 w 4384"/>
              <a:gd name="T55" fmla="*/ 2147483647 h 4763"/>
              <a:gd name="T56" fmla="*/ 2147483647 w 4384"/>
              <a:gd name="T57" fmla="*/ 2147483647 h 4763"/>
              <a:gd name="T58" fmla="*/ 2147483647 w 4384"/>
              <a:gd name="T59" fmla="*/ 2147483647 h 4763"/>
              <a:gd name="T60" fmla="*/ 2147483647 w 4384"/>
              <a:gd name="T61" fmla="*/ 2147483647 h 4763"/>
              <a:gd name="T62" fmla="*/ 2147483647 w 4384"/>
              <a:gd name="T63" fmla="*/ 2147483647 h 4763"/>
              <a:gd name="T64" fmla="*/ 2147483647 w 4384"/>
              <a:gd name="T65" fmla="*/ 2147483647 h 4763"/>
              <a:gd name="T66" fmla="*/ 2147483647 w 4384"/>
              <a:gd name="T67" fmla="*/ 2147483647 h 4763"/>
              <a:gd name="T68" fmla="*/ 2147483647 w 4384"/>
              <a:gd name="T69" fmla="*/ 2147483647 h 4763"/>
              <a:gd name="T70" fmla="*/ 2147483647 w 4384"/>
              <a:gd name="T71" fmla="*/ 2147483647 h 4763"/>
              <a:gd name="T72" fmla="*/ 2147483647 w 4384"/>
              <a:gd name="T73" fmla="*/ 2147483647 h 4763"/>
              <a:gd name="T74" fmla="*/ 2147483647 w 4384"/>
              <a:gd name="T75" fmla="*/ 2147483647 h 4763"/>
              <a:gd name="T76" fmla="*/ 2147483647 w 4384"/>
              <a:gd name="T77" fmla="*/ 2147483647 h 4763"/>
              <a:gd name="T78" fmla="*/ 2147483647 w 4384"/>
              <a:gd name="T79" fmla="*/ 2147483647 h 4763"/>
              <a:gd name="T80" fmla="*/ 2147483647 w 4384"/>
              <a:gd name="T81" fmla="*/ 2147483647 h 4763"/>
              <a:gd name="T82" fmla="*/ 2147483647 w 4384"/>
              <a:gd name="T83" fmla="*/ 2147483647 h 4763"/>
              <a:gd name="T84" fmla="*/ 2147483647 w 4384"/>
              <a:gd name="T85" fmla="*/ 2147483647 h 4763"/>
              <a:gd name="T86" fmla="*/ 2147483647 w 4384"/>
              <a:gd name="T87" fmla="*/ 2147483647 h 4763"/>
              <a:gd name="T88" fmla="*/ 2147483647 w 4384"/>
              <a:gd name="T89" fmla="*/ 2147483647 h 4763"/>
              <a:gd name="T90" fmla="*/ 2147483647 w 4384"/>
              <a:gd name="T91" fmla="*/ 2147483647 h 4763"/>
              <a:gd name="T92" fmla="*/ 2147483647 w 4384"/>
              <a:gd name="T93" fmla="*/ 2147483647 h 4763"/>
              <a:gd name="T94" fmla="*/ 2147483647 w 4384"/>
              <a:gd name="T95" fmla="*/ 2147483647 h 4763"/>
              <a:gd name="T96" fmla="*/ 2147483647 w 4384"/>
              <a:gd name="T97" fmla="*/ 2147483647 h 4763"/>
              <a:gd name="T98" fmla="*/ 2147483647 w 4384"/>
              <a:gd name="T99" fmla="*/ 2147483647 h 4763"/>
              <a:gd name="T100" fmla="*/ 2147483647 w 4384"/>
              <a:gd name="T101" fmla="*/ 2147483647 h 4763"/>
              <a:gd name="T102" fmla="*/ 2147483647 w 4384"/>
              <a:gd name="T103" fmla="*/ 2147483647 h 4763"/>
              <a:gd name="T104" fmla="*/ 2147483647 w 4384"/>
              <a:gd name="T105" fmla="*/ 2147483647 h 4763"/>
              <a:gd name="T106" fmla="*/ 2147483647 w 4384"/>
              <a:gd name="T107" fmla="*/ 2147483647 h 4763"/>
              <a:gd name="T108" fmla="*/ 2147483647 w 4384"/>
              <a:gd name="T109" fmla="*/ 2147483647 h 4763"/>
              <a:gd name="T110" fmla="*/ 2147483647 w 4384"/>
              <a:gd name="T111" fmla="*/ 2147483647 h 4763"/>
              <a:gd name="T112" fmla="*/ 2147483647 w 4384"/>
              <a:gd name="T113" fmla="*/ 2147483647 h 4763"/>
              <a:gd name="T114" fmla="*/ 2147483647 w 4384"/>
              <a:gd name="T115" fmla="*/ 2147483647 h 4763"/>
              <a:gd name="T116" fmla="*/ 2147483647 w 4384"/>
              <a:gd name="T117" fmla="*/ 2147483647 h 4763"/>
              <a:gd name="T118" fmla="*/ 2147483647 w 4384"/>
              <a:gd name="T119" fmla="*/ 2147483647 h 4763"/>
              <a:gd name="T120" fmla="*/ 2147483647 w 4384"/>
              <a:gd name="T121" fmla="*/ 2147483647 h 4763"/>
              <a:gd name="T122" fmla="*/ 2147483647 w 438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84"/>
              <a:gd name="T187" fmla="*/ 0 h 4763"/>
              <a:gd name="T188" fmla="*/ 4384 w 438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84" h="4763">
                <a:moveTo>
                  <a:pt x="2503" y="1683"/>
                </a:moveTo>
                <a:lnTo>
                  <a:pt x="2061" y="1683"/>
                </a:lnTo>
                <a:lnTo>
                  <a:pt x="2061" y="1575"/>
                </a:lnTo>
                <a:lnTo>
                  <a:pt x="2503" y="1575"/>
                </a:lnTo>
                <a:lnTo>
                  <a:pt x="2503" y="1683"/>
                </a:lnTo>
                <a:close/>
                <a:moveTo>
                  <a:pt x="3662" y="1355"/>
                </a:moveTo>
                <a:lnTo>
                  <a:pt x="3354" y="1355"/>
                </a:lnTo>
                <a:lnTo>
                  <a:pt x="3354" y="1247"/>
                </a:lnTo>
                <a:lnTo>
                  <a:pt x="3662" y="1247"/>
                </a:lnTo>
                <a:lnTo>
                  <a:pt x="3662" y="1355"/>
                </a:lnTo>
                <a:close/>
                <a:moveTo>
                  <a:pt x="3231" y="1355"/>
                </a:moveTo>
                <a:lnTo>
                  <a:pt x="2923" y="1355"/>
                </a:lnTo>
                <a:lnTo>
                  <a:pt x="2923" y="1247"/>
                </a:lnTo>
                <a:lnTo>
                  <a:pt x="3231" y="1247"/>
                </a:lnTo>
                <a:lnTo>
                  <a:pt x="3231" y="1355"/>
                </a:lnTo>
                <a:close/>
                <a:moveTo>
                  <a:pt x="2801" y="1355"/>
                </a:moveTo>
                <a:lnTo>
                  <a:pt x="2491" y="1355"/>
                </a:lnTo>
                <a:lnTo>
                  <a:pt x="2491" y="1247"/>
                </a:lnTo>
                <a:lnTo>
                  <a:pt x="2801" y="1247"/>
                </a:lnTo>
                <a:lnTo>
                  <a:pt x="2801" y="1355"/>
                </a:lnTo>
                <a:close/>
                <a:moveTo>
                  <a:pt x="2370" y="1355"/>
                </a:moveTo>
                <a:lnTo>
                  <a:pt x="2061" y="1355"/>
                </a:lnTo>
                <a:lnTo>
                  <a:pt x="2061" y="1247"/>
                </a:lnTo>
                <a:lnTo>
                  <a:pt x="2370" y="1247"/>
                </a:lnTo>
                <a:lnTo>
                  <a:pt x="2370" y="1355"/>
                </a:lnTo>
                <a:close/>
                <a:moveTo>
                  <a:pt x="3662" y="1025"/>
                </a:moveTo>
                <a:lnTo>
                  <a:pt x="3220" y="1025"/>
                </a:lnTo>
                <a:lnTo>
                  <a:pt x="3220" y="917"/>
                </a:lnTo>
                <a:lnTo>
                  <a:pt x="3662" y="917"/>
                </a:lnTo>
                <a:lnTo>
                  <a:pt x="3662" y="1025"/>
                </a:lnTo>
                <a:close/>
                <a:moveTo>
                  <a:pt x="3083" y="1025"/>
                </a:moveTo>
                <a:lnTo>
                  <a:pt x="2641" y="1025"/>
                </a:lnTo>
                <a:lnTo>
                  <a:pt x="2641" y="917"/>
                </a:lnTo>
                <a:lnTo>
                  <a:pt x="3083" y="917"/>
                </a:lnTo>
                <a:lnTo>
                  <a:pt x="3083" y="1025"/>
                </a:lnTo>
                <a:close/>
                <a:moveTo>
                  <a:pt x="2503" y="1025"/>
                </a:moveTo>
                <a:lnTo>
                  <a:pt x="2061" y="1025"/>
                </a:lnTo>
                <a:lnTo>
                  <a:pt x="2061" y="917"/>
                </a:lnTo>
                <a:lnTo>
                  <a:pt x="2503" y="917"/>
                </a:lnTo>
                <a:lnTo>
                  <a:pt x="2503" y="1025"/>
                </a:lnTo>
                <a:close/>
                <a:moveTo>
                  <a:pt x="2736" y="2897"/>
                </a:moveTo>
                <a:lnTo>
                  <a:pt x="2736" y="2897"/>
                </a:lnTo>
                <a:lnTo>
                  <a:pt x="2729" y="2887"/>
                </a:lnTo>
                <a:lnTo>
                  <a:pt x="2721" y="2877"/>
                </a:lnTo>
                <a:lnTo>
                  <a:pt x="2712" y="2869"/>
                </a:lnTo>
                <a:lnTo>
                  <a:pt x="2701" y="2864"/>
                </a:lnTo>
                <a:lnTo>
                  <a:pt x="2689" y="2860"/>
                </a:lnTo>
                <a:lnTo>
                  <a:pt x="2677" y="2860"/>
                </a:lnTo>
                <a:lnTo>
                  <a:pt x="2665" y="2861"/>
                </a:lnTo>
                <a:lnTo>
                  <a:pt x="2653" y="2864"/>
                </a:lnTo>
                <a:lnTo>
                  <a:pt x="2641" y="2870"/>
                </a:lnTo>
                <a:lnTo>
                  <a:pt x="2631" y="2879"/>
                </a:lnTo>
                <a:lnTo>
                  <a:pt x="2624" y="2888"/>
                </a:lnTo>
                <a:lnTo>
                  <a:pt x="2618" y="2899"/>
                </a:lnTo>
                <a:lnTo>
                  <a:pt x="2615" y="2911"/>
                </a:lnTo>
                <a:lnTo>
                  <a:pt x="2614" y="2923"/>
                </a:lnTo>
                <a:lnTo>
                  <a:pt x="2615" y="2935"/>
                </a:lnTo>
                <a:lnTo>
                  <a:pt x="2619" y="2947"/>
                </a:lnTo>
                <a:lnTo>
                  <a:pt x="2624" y="2959"/>
                </a:lnTo>
                <a:lnTo>
                  <a:pt x="2633" y="2969"/>
                </a:lnTo>
                <a:lnTo>
                  <a:pt x="2642" y="2977"/>
                </a:lnTo>
                <a:lnTo>
                  <a:pt x="2653" y="2982"/>
                </a:lnTo>
                <a:lnTo>
                  <a:pt x="2665" y="2985"/>
                </a:lnTo>
                <a:lnTo>
                  <a:pt x="2677" y="2986"/>
                </a:lnTo>
                <a:lnTo>
                  <a:pt x="2690" y="2985"/>
                </a:lnTo>
                <a:lnTo>
                  <a:pt x="2703" y="2981"/>
                </a:lnTo>
                <a:lnTo>
                  <a:pt x="2713" y="2975"/>
                </a:lnTo>
                <a:lnTo>
                  <a:pt x="2723" y="2967"/>
                </a:lnTo>
                <a:lnTo>
                  <a:pt x="2731" y="2958"/>
                </a:lnTo>
                <a:lnTo>
                  <a:pt x="2736" y="2947"/>
                </a:lnTo>
                <a:lnTo>
                  <a:pt x="2740" y="2935"/>
                </a:lnTo>
                <a:lnTo>
                  <a:pt x="2740" y="2923"/>
                </a:lnTo>
                <a:lnTo>
                  <a:pt x="2740" y="2911"/>
                </a:lnTo>
                <a:lnTo>
                  <a:pt x="2736" y="2897"/>
                </a:lnTo>
                <a:close/>
                <a:moveTo>
                  <a:pt x="2834" y="2856"/>
                </a:moveTo>
                <a:lnTo>
                  <a:pt x="2834" y="2856"/>
                </a:lnTo>
                <a:lnTo>
                  <a:pt x="2841" y="2872"/>
                </a:lnTo>
                <a:lnTo>
                  <a:pt x="2845" y="2889"/>
                </a:lnTo>
                <a:lnTo>
                  <a:pt x="2848" y="2905"/>
                </a:lnTo>
                <a:lnTo>
                  <a:pt x="2849" y="2923"/>
                </a:lnTo>
                <a:lnTo>
                  <a:pt x="2848" y="2939"/>
                </a:lnTo>
                <a:lnTo>
                  <a:pt x="2845" y="2955"/>
                </a:lnTo>
                <a:lnTo>
                  <a:pt x="2841" y="2971"/>
                </a:lnTo>
                <a:lnTo>
                  <a:pt x="2836" y="2987"/>
                </a:lnTo>
                <a:lnTo>
                  <a:pt x="2829" y="3002"/>
                </a:lnTo>
                <a:lnTo>
                  <a:pt x="2821" y="3016"/>
                </a:lnTo>
                <a:lnTo>
                  <a:pt x="2811" y="3029"/>
                </a:lnTo>
                <a:lnTo>
                  <a:pt x="2801" y="3043"/>
                </a:lnTo>
                <a:lnTo>
                  <a:pt x="2789" y="3053"/>
                </a:lnTo>
                <a:lnTo>
                  <a:pt x="2775" y="3064"/>
                </a:lnTo>
                <a:lnTo>
                  <a:pt x="2760" y="3072"/>
                </a:lnTo>
                <a:lnTo>
                  <a:pt x="2744" y="3080"/>
                </a:lnTo>
                <a:lnTo>
                  <a:pt x="2728" y="3087"/>
                </a:lnTo>
                <a:lnTo>
                  <a:pt x="2711" y="3091"/>
                </a:lnTo>
                <a:lnTo>
                  <a:pt x="2694" y="3094"/>
                </a:lnTo>
                <a:lnTo>
                  <a:pt x="2677" y="3094"/>
                </a:lnTo>
                <a:lnTo>
                  <a:pt x="2661" y="3094"/>
                </a:lnTo>
                <a:lnTo>
                  <a:pt x="2645" y="3091"/>
                </a:lnTo>
                <a:lnTo>
                  <a:pt x="2629" y="3087"/>
                </a:lnTo>
                <a:lnTo>
                  <a:pt x="2612" y="3082"/>
                </a:lnTo>
                <a:lnTo>
                  <a:pt x="2598" y="3075"/>
                </a:lnTo>
                <a:lnTo>
                  <a:pt x="2584" y="3067"/>
                </a:lnTo>
                <a:lnTo>
                  <a:pt x="2571" y="3057"/>
                </a:lnTo>
                <a:lnTo>
                  <a:pt x="2559" y="3045"/>
                </a:lnTo>
                <a:lnTo>
                  <a:pt x="2546" y="3033"/>
                </a:lnTo>
                <a:lnTo>
                  <a:pt x="2536" y="3020"/>
                </a:lnTo>
                <a:lnTo>
                  <a:pt x="2528" y="3005"/>
                </a:lnTo>
                <a:lnTo>
                  <a:pt x="2520" y="2990"/>
                </a:lnTo>
                <a:lnTo>
                  <a:pt x="2514" y="2973"/>
                </a:lnTo>
                <a:lnTo>
                  <a:pt x="2509" y="2957"/>
                </a:lnTo>
                <a:lnTo>
                  <a:pt x="2506" y="2940"/>
                </a:lnTo>
                <a:lnTo>
                  <a:pt x="2506" y="2923"/>
                </a:lnTo>
                <a:lnTo>
                  <a:pt x="2506" y="2907"/>
                </a:lnTo>
                <a:lnTo>
                  <a:pt x="2509" y="2891"/>
                </a:lnTo>
                <a:lnTo>
                  <a:pt x="2513" y="2874"/>
                </a:lnTo>
                <a:lnTo>
                  <a:pt x="2518" y="2858"/>
                </a:lnTo>
                <a:lnTo>
                  <a:pt x="2525" y="2844"/>
                </a:lnTo>
                <a:lnTo>
                  <a:pt x="2533" y="2830"/>
                </a:lnTo>
                <a:lnTo>
                  <a:pt x="2544" y="2817"/>
                </a:lnTo>
                <a:lnTo>
                  <a:pt x="2555" y="2803"/>
                </a:lnTo>
                <a:lnTo>
                  <a:pt x="2567" y="2792"/>
                </a:lnTo>
                <a:lnTo>
                  <a:pt x="2580" y="2782"/>
                </a:lnTo>
                <a:lnTo>
                  <a:pt x="2595" y="2772"/>
                </a:lnTo>
                <a:lnTo>
                  <a:pt x="2610" y="2766"/>
                </a:lnTo>
                <a:lnTo>
                  <a:pt x="2627" y="2759"/>
                </a:lnTo>
                <a:lnTo>
                  <a:pt x="2643" y="2755"/>
                </a:lnTo>
                <a:lnTo>
                  <a:pt x="2661" y="2752"/>
                </a:lnTo>
                <a:lnTo>
                  <a:pt x="2677" y="2752"/>
                </a:lnTo>
                <a:lnTo>
                  <a:pt x="2693" y="2752"/>
                </a:lnTo>
                <a:lnTo>
                  <a:pt x="2709" y="2755"/>
                </a:lnTo>
                <a:lnTo>
                  <a:pt x="2725" y="2759"/>
                </a:lnTo>
                <a:lnTo>
                  <a:pt x="2742" y="2764"/>
                </a:lnTo>
                <a:lnTo>
                  <a:pt x="2756" y="2771"/>
                </a:lnTo>
                <a:lnTo>
                  <a:pt x="2771" y="2779"/>
                </a:lnTo>
                <a:lnTo>
                  <a:pt x="2785" y="2788"/>
                </a:lnTo>
                <a:lnTo>
                  <a:pt x="2797" y="2799"/>
                </a:lnTo>
                <a:lnTo>
                  <a:pt x="2807" y="2813"/>
                </a:lnTo>
                <a:lnTo>
                  <a:pt x="2818" y="2826"/>
                </a:lnTo>
                <a:lnTo>
                  <a:pt x="2828" y="2840"/>
                </a:lnTo>
                <a:lnTo>
                  <a:pt x="2834" y="2856"/>
                </a:lnTo>
                <a:close/>
                <a:moveTo>
                  <a:pt x="3211" y="2529"/>
                </a:moveTo>
                <a:lnTo>
                  <a:pt x="3211" y="2529"/>
                </a:lnTo>
                <a:lnTo>
                  <a:pt x="3207" y="2522"/>
                </a:lnTo>
                <a:lnTo>
                  <a:pt x="3203" y="2515"/>
                </a:lnTo>
                <a:lnTo>
                  <a:pt x="3193" y="2503"/>
                </a:lnTo>
                <a:lnTo>
                  <a:pt x="3181" y="2494"/>
                </a:lnTo>
                <a:lnTo>
                  <a:pt x="3168" y="2486"/>
                </a:lnTo>
                <a:lnTo>
                  <a:pt x="3153" y="2482"/>
                </a:lnTo>
                <a:lnTo>
                  <a:pt x="3137" y="2480"/>
                </a:lnTo>
                <a:lnTo>
                  <a:pt x="3122" y="2482"/>
                </a:lnTo>
                <a:lnTo>
                  <a:pt x="3114" y="2484"/>
                </a:lnTo>
                <a:lnTo>
                  <a:pt x="3106" y="2487"/>
                </a:lnTo>
                <a:lnTo>
                  <a:pt x="3099" y="2490"/>
                </a:lnTo>
                <a:lnTo>
                  <a:pt x="3093" y="2495"/>
                </a:lnTo>
                <a:lnTo>
                  <a:pt x="3081" y="2505"/>
                </a:lnTo>
                <a:lnTo>
                  <a:pt x="3071" y="2517"/>
                </a:lnTo>
                <a:lnTo>
                  <a:pt x="3064" y="2530"/>
                </a:lnTo>
                <a:lnTo>
                  <a:pt x="3059" y="2545"/>
                </a:lnTo>
                <a:lnTo>
                  <a:pt x="3058" y="2560"/>
                </a:lnTo>
                <a:lnTo>
                  <a:pt x="3060" y="2576"/>
                </a:lnTo>
                <a:lnTo>
                  <a:pt x="3062" y="2584"/>
                </a:lnTo>
                <a:lnTo>
                  <a:pt x="3064" y="2592"/>
                </a:lnTo>
                <a:lnTo>
                  <a:pt x="3068" y="2599"/>
                </a:lnTo>
                <a:lnTo>
                  <a:pt x="3072" y="2605"/>
                </a:lnTo>
                <a:lnTo>
                  <a:pt x="3082" y="2618"/>
                </a:lnTo>
                <a:lnTo>
                  <a:pt x="3094" y="2627"/>
                </a:lnTo>
                <a:lnTo>
                  <a:pt x="3107" y="2634"/>
                </a:lnTo>
                <a:lnTo>
                  <a:pt x="3122" y="2639"/>
                </a:lnTo>
                <a:lnTo>
                  <a:pt x="3138" y="2640"/>
                </a:lnTo>
                <a:lnTo>
                  <a:pt x="3153" y="2638"/>
                </a:lnTo>
                <a:lnTo>
                  <a:pt x="3161" y="2636"/>
                </a:lnTo>
                <a:lnTo>
                  <a:pt x="3169" y="2634"/>
                </a:lnTo>
                <a:lnTo>
                  <a:pt x="3176" y="2630"/>
                </a:lnTo>
                <a:lnTo>
                  <a:pt x="3183" y="2626"/>
                </a:lnTo>
                <a:lnTo>
                  <a:pt x="3195" y="2616"/>
                </a:lnTo>
                <a:lnTo>
                  <a:pt x="3204" y="2604"/>
                </a:lnTo>
                <a:lnTo>
                  <a:pt x="3212" y="2591"/>
                </a:lnTo>
                <a:lnTo>
                  <a:pt x="3216" y="2576"/>
                </a:lnTo>
                <a:lnTo>
                  <a:pt x="3218" y="2560"/>
                </a:lnTo>
                <a:lnTo>
                  <a:pt x="3216" y="2545"/>
                </a:lnTo>
                <a:lnTo>
                  <a:pt x="3214" y="2537"/>
                </a:lnTo>
                <a:lnTo>
                  <a:pt x="3211" y="2529"/>
                </a:lnTo>
                <a:close/>
                <a:moveTo>
                  <a:pt x="3409" y="2445"/>
                </a:moveTo>
                <a:lnTo>
                  <a:pt x="3409" y="2445"/>
                </a:lnTo>
                <a:lnTo>
                  <a:pt x="3419" y="2474"/>
                </a:lnTo>
                <a:lnTo>
                  <a:pt x="3428" y="2502"/>
                </a:lnTo>
                <a:lnTo>
                  <a:pt x="3432" y="2531"/>
                </a:lnTo>
                <a:lnTo>
                  <a:pt x="3433" y="2560"/>
                </a:lnTo>
                <a:lnTo>
                  <a:pt x="3432" y="2588"/>
                </a:lnTo>
                <a:lnTo>
                  <a:pt x="3428" y="2616"/>
                </a:lnTo>
                <a:lnTo>
                  <a:pt x="3421" y="2644"/>
                </a:lnTo>
                <a:lnTo>
                  <a:pt x="3411" y="2671"/>
                </a:lnTo>
                <a:lnTo>
                  <a:pt x="3399" y="2697"/>
                </a:lnTo>
                <a:lnTo>
                  <a:pt x="3385" y="2721"/>
                </a:lnTo>
                <a:lnTo>
                  <a:pt x="3368" y="2744"/>
                </a:lnTo>
                <a:lnTo>
                  <a:pt x="3350" y="2766"/>
                </a:lnTo>
                <a:lnTo>
                  <a:pt x="3328" y="2786"/>
                </a:lnTo>
                <a:lnTo>
                  <a:pt x="3305" y="2803"/>
                </a:lnTo>
                <a:lnTo>
                  <a:pt x="3280" y="2818"/>
                </a:lnTo>
                <a:lnTo>
                  <a:pt x="3253" y="2831"/>
                </a:lnTo>
                <a:lnTo>
                  <a:pt x="3224" y="2842"/>
                </a:lnTo>
                <a:lnTo>
                  <a:pt x="3196" y="2849"/>
                </a:lnTo>
                <a:lnTo>
                  <a:pt x="3167" y="2854"/>
                </a:lnTo>
                <a:lnTo>
                  <a:pt x="3138" y="2856"/>
                </a:lnTo>
                <a:lnTo>
                  <a:pt x="3110" y="2854"/>
                </a:lnTo>
                <a:lnTo>
                  <a:pt x="3082" y="2850"/>
                </a:lnTo>
                <a:lnTo>
                  <a:pt x="3054" y="2844"/>
                </a:lnTo>
                <a:lnTo>
                  <a:pt x="3027" y="2834"/>
                </a:lnTo>
                <a:lnTo>
                  <a:pt x="3001" y="2822"/>
                </a:lnTo>
                <a:lnTo>
                  <a:pt x="2977" y="2807"/>
                </a:lnTo>
                <a:lnTo>
                  <a:pt x="2954" y="2791"/>
                </a:lnTo>
                <a:lnTo>
                  <a:pt x="2933" y="2772"/>
                </a:lnTo>
                <a:lnTo>
                  <a:pt x="2912" y="2751"/>
                </a:lnTo>
                <a:lnTo>
                  <a:pt x="2895" y="2728"/>
                </a:lnTo>
                <a:lnTo>
                  <a:pt x="2880" y="2702"/>
                </a:lnTo>
                <a:lnTo>
                  <a:pt x="2867" y="2675"/>
                </a:lnTo>
                <a:lnTo>
                  <a:pt x="2856" y="2647"/>
                </a:lnTo>
                <a:lnTo>
                  <a:pt x="2849" y="2619"/>
                </a:lnTo>
                <a:lnTo>
                  <a:pt x="2844" y="2589"/>
                </a:lnTo>
                <a:lnTo>
                  <a:pt x="2842" y="2561"/>
                </a:lnTo>
                <a:lnTo>
                  <a:pt x="2844" y="2531"/>
                </a:lnTo>
                <a:lnTo>
                  <a:pt x="2848" y="2505"/>
                </a:lnTo>
                <a:lnTo>
                  <a:pt x="2855" y="2476"/>
                </a:lnTo>
                <a:lnTo>
                  <a:pt x="2864" y="2449"/>
                </a:lnTo>
                <a:lnTo>
                  <a:pt x="2876" y="2424"/>
                </a:lnTo>
                <a:lnTo>
                  <a:pt x="2891" y="2400"/>
                </a:lnTo>
                <a:lnTo>
                  <a:pt x="2907" y="2377"/>
                </a:lnTo>
                <a:lnTo>
                  <a:pt x="2926" y="2355"/>
                </a:lnTo>
                <a:lnTo>
                  <a:pt x="2947" y="2335"/>
                </a:lnTo>
                <a:lnTo>
                  <a:pt x="2970" y="2318"/>
                </a:lnTo>
                <a:lnTo>
                  <a:pt x="2996" y="2301"/>
                </a:lnTo>
                <a:lnTo>
                  <a:pt x="3023" y="2289"/>
                </a:lnTo>
                <a:lnTo>
                  <a:pt x="3037" y="2283"/>
                </a:lnTo>
                <a:lnTo>
                  <a:pt x="3056" y="2279"/>
                </a:lnTo>
                <a:lnTo>
                  <a:pt x="3093" y="2271"/>
                </a:lnTo>
                <a:lnTo>
                  <a:pt x="3124" y="2265"/>
                </a:lnTo>
                <a:lnTo>
                  <a:pt x="3136" y="2264"/>
                </a:lnTo>
                <a:lnTo>
                  <a:pt x="3169" y="2257"/>
                </a:lnTo>
                <a:lnTo>
                  <a:pt x="3202" y="2249"/>
                </a:lnTo>
                <a:lnTo>
                  <a:pt x="3233" y="2240"/>
                </a:lnTo>
                <a:lnTo>
                  <a:pt x="3261" y="2229"/>
                </a:lnTo>
                <a:lnTo>
                  <a:pt x="3289" y="2215"/>
                </a:lnTo>
                <a:lnTo>
                  <a:pt x="3315" y="2202"/>
                </a:lnTo>
                <a:lnTo>
                  <a:pt x="3340" y="2186"/>
                </a:lnTo>
                <a:lnTo>
                  <a:pt x="3363" y="2168"/>
                </a:lnTo>
                <a:lnTo>
                  <a:pt x="3386" y="2149"/>
                </a:lnTo>
                <a:lnTo>
                  <a:pt x="3406" y="2129"/>
                </a:lnTo>
                <a:lnTo>
                  <a:pt x="3426" y="2106"/>
                </a:lnTo>
                <a:lnTo>
                  <a:pt x="3445" y="2084"/>
                </a:lnTo>
                <a:lnTo>
                  <a:pt x="3464" y="2059"/>
                </a:lnTo>
                <a:lnTo>
                  <a:pt x="3481" y="2032"/>
                </a:lnTo>
                <a:lnTo>
                  <a:pt x="3499" y="2006"/>
                </a:lnTo>
                <a:lnTo>
                  <a:pt x="3515" y="1976"/>
                </a:lnTo>
                <a:lnTo>
                  <a:pt x="3554" y="1984"/>
                </a:lnTo>
                <a:lnTo>
                  <a:pt x="3592" y="1989"/>
                </a:lnTo>
                <a:lnTo>
                  <a:pt x="3629" y="1993"/>
                </a:lnTo>
                <a:lnTo>
                  <a:pt x="3667" y="1996"/>
                </a:lnTo>
                <a:lnTo>
                  <a:pt x="3703" y="1996"/>
                </a:lnTo>
                <a:lnTo>
                  <a:pt x="3740" y="1995"/>
                </a:lnTo>
                <a:lnTo>
                  <a:pt x="3775" y="1992"/>
                </a:lnTo>
                <a:lnTo>
                  <a:pt x="3808" y="1987"/>
                </a:lnTo>
                <a:lnTo>
                  <a:pt x="3842" y="1980"/>
                </a:lnTo>
                <a:lnTo>
                  <a:pt x="3874" y="1972"/>
                </a:lnTo>
                <a:lnTo>
                  <a:pt x="3905" y="1961"/>
                </a:lnTo>
                <a:lnTo>
                  <a:pt x="3935" y="1949"/>
                </a:lnTo>
                <a:lnTo>
                  <a:pt x="3963" y="1936"/>
                </a:lnTo>
                <a:lnTo>
                  <a:pt x="3989" y="1921"/>
                </a:lnTo>
                <a:lnTo>
                  <a:pt x="4014" y="1903"/>
                </a:lnTo>
                <a:lnTo>
                  <a:pt x="4038" y="1884"/>
                </a:lnTo>
                <a:lnTo>
                  <a:pt x="4060" y="1864"/>
                </a:lnTo>
                <a:lnTo>
                  <a:pt x="4080" y="1843"/>
                </a:lnTo>
                <a:lnTo>
                  <a:pt x="4097" y="1819"/>
                </a:lnTo>
                <a:lnTo>
                  <a:pt x="4114" y="1793"/>
                </a:lnTo>
                <a:lnTo>
                  <a:pt x="4128" y="1766"/>
                </a:lnTo>
                <a:lnTo>
                  <a:pt x="4141" y="1738"/>
                </a:lnTo>
                <a:lnTo>
                  <a:pt x="4150" y="1707"/>
                </a:lnTo>
                <a:lnTo>
                  <a:pt x="4158" y="1676"/>
                </a:lnTo>
                <a:lnTo>
                  <a:pt x="4163" y="1642"/>
                </a:lnTo>
                <a:lnTo>
                  <a:pt x="4165" y="1607"/>
                </a:lnTo>
                <a:lnTo>
                  <a:pt x="4165" y="1570"/>
                </a:lnTo>
                <a:lnTo>
                  <a:pt x="4163" y="1532"/>
                </a:lnTo>
                <a:lnTo>
                  <a:pt x="4158" y="1492"/>
                </a:lnTo>
                <a:lnTo>
                  <a:pt x="4149" y="1451"/>
                </a:lnTo>
                <a:lnTo>
                  <a:pt x="4138" y="1408"/>
                </a:lnTo>
                <a:lnTo>
                  <a:pt x="4124" y="1364"/>
                </a:lnTo>
                <a:lnTo>
                  <a:pt x="4134" y="1330"/>
                </a:lnTo>
                <a:lnTo>
                  <a:pt x="4142" y="1297"/>
                </a:lnTo>
                <a:lnTo>
                  <a:pt x="4149" y="1264"/>
                </a:lnTo>
                <a:lnTo>
                  <a:pt x="4154" y="1232"/>
                </a:lnTo>
                <a:lnTo>
                  <a:pt x="4158" y="1200"/>
                </a:lnTo>
                <a:lnTo>
                  <a:pt x="4159" y="1169"/>
                </a:lnTo>
                <a:lnTo>
                  <a:pt x="4161" y="1138"/>
                </a:lnTo>
                <a:lnTo>
                  <a:pt x="4159" y="1107"/>
                </a:lnTo>
                <a:lnTo>
                  <a:pt x="4157" y="1077"/>
                </a:lnTo>
                <a:lnTo>
                  <a:pt x="4154" y="1048"/>
                </a:lnTo>
                <a:lnTo>
                  <a:pt x="4149" y="1018"/>
                </a:lnTo>
                <a:lnTo>
                  <a:pt x="4142" y="990"/>
                </a:lnTo>
                <a:lnTo>
                  <a:pt x="4134" y="962"/>
                </a:lnTo>
                <a:lnTo>
                  <a:pt x="4124" y="935"/>
                </a:lnTo>
                <a:lnTo>
                  <a:pt x="4115" y="908"/>
                </a:lnTo>
                <a:lnTo>
                  <a:pt x="4103" y="881"/>
                </a:lnTo>
                <a:lnTo>
                  <a:pt x="4091" y="855"/>
                </a:lnTo>
                <a:lnTo>
                  <a:pt x="4077" y="830"/>
                </a:lnTo>
                <a:lnTo>
                  <a:pt x="4062" y="806"/>
                </a:lnTo>
                <a:lnTo>
                  <a:pt x="4046" y="782"/>
                </a:lnTo>
                <a:lnTo>
                  <a:pt x="4030" y="757"/>
                </a:lnTo>
                <a:lnTo>
                  <a:pt x="4013" y="734"/>
                </a:lnTo>
                <a:lnTo>
                  <a:pt x="3994" y="712"/>
                </a:lnTo>
                <a:lnTo>
                  <a:pt x="3975" y="690"/>
                </a:lnTo>
                <a:lnTo>
                  <a:pt x="3954" y="669"/>
                </a:lnTo>
                <a:lnTo>
                  <a:pt x="3933" y="648"/>
                </a:lnTo>
                <a:lnTo>
                  <a:pt x="3912" y="628"/>
                </a:lnTo>
                <a:lnTo>
                  <a:pt x="3889" y="609"/>
                </a:lnTo>
                <a:lnTo>
                  <a:pt x="3865" y="590"/>
                </a:lnTo>
                <a:lnTo>
                  <a:pt x="3842" y="572"/>
                </a:lnTo>
                <a:lnTo>
                  <a:pt x="3816" y="554"/>
                </a:lnTo>
                <a:lnTo>
                  <a:pt x="3792" y="538"/>
                </a:lnTo>
                <a:lnTo>
                  <a:pt x="3767" y="522"/>
                </a:lnTo>
                <a:lnTo>
                  <a:pt x="3740" y="507"/>
                </a:lnTo>
                <a:lnTo>
                  <a:pt x="3713" y="492"/>
                </a:lnTo>
                <a:lnTo>
                  <a:pt x="3686" y="478"/>
                </a:lnTo>
                <a:lnTo>
                  <a:pt x="3631" y="452"/>
                </a:lnTo>
                <a:lnTo>
                  <a:pt x="3574" y="429"/>
                </a:lnTo>
                <a:lnTo>
                  <a:pt x="3516" y="409"/>
                </a:lnTo>
                <a:lnTo>
                  <a:pt x="3459" y="391"/>
                </a:lnTo>
                <a:lnTo>
                  <a:pt x="3399" y="378"/>
                </a:lnTo>
                <a:lnTo>
                  <a:pt x="3341" y="367"/>
                </a:lnTo>
                <a:lnTo>
                  <a:pt x="3282" y="359"/>
                </a:lnTo>
                <a:lnTo>
                  <a:pt x="3254" y="356"/>
                </a:lnTo>
                <a:lnTo>
                  <a:pt x="3224" y="355"/>
                </a:lnTo>
                <a:lnTo>
                  <a:pt x="3196" y="354"/>
                </a:lnTo>
                <a:lnTo>
                  <a:pt x="3168" y="354"/>
                </a:lnTo>
                <a:lnTo>
                  <a:pt x="3140" y="355"/>
                </a:lnTo>
                <a:lnTo>
                  <a:pt x="3111" y="356"/>
                </a:lnTo>
                <a:lnTo>
                  <a:pt x="3083" y="359"/>
                </a:lnTo>
                <a:lnTo>
                  <a:pt x="3056" y="362"/>
                </a:lnTo>
                <a:lnTo>
                  <a:pt x="3029" y="366"/>
                </a:lnTo>
                <a:lnTo>
                  <a:pt x="3004" y="371"/>
                </a:lnTo>
                <a:lnTo>
                  <a:pt x="2978" y="378"/>
                </a:lnTo>
                <a:lnTo>
                  <a:pt x="2953" y="385"/>
                </a:lnTo>
                <a:lnTo>
                  <a:pt x="2927" y="393"/>
                </a:lnTo>
                <a:lnTo>
                  <a:pt x="2904" y="401"/>
                </a:lnTo>
                <a:lnTo>
                  <a:pt x="2888" y="386"/>
                </a:lnTo>
                <a:lnTo>
                  <a:pt x="2868" y="370"/>
                </a:lnTo>
                <a:lnTo>
                  <a:pt x="2845" y="355"/>
                </a:lnTo>
                <a:lnTo>
                  <a:pt x="2820" y="340"/>
                </a:lnTo>
                <a:lnTo>
                  <a:pt x="2790" y="326"/>
                </a:lnTo>
                <a:lnTo>
                  <a:pt x="2758" y="312"/>
                </a:lnTo>
                <a:lnTo>
                  <a:pt x="2724" y="299"/>
                </a:lnTo>
                <a:lnTo>
                  <a:pt x="2688" y="287"/>
                </a:lnTo>
                <a:lnTo>
                  <a:pt x="2649" y="276"/>
                </a:lnTo>
                <a:lnTo>
                  <a:pt x="2608" y="265"/>
                </a:lnTo>
                <a:lnTo>
                  <a:pt x="2567" y="256"/>
                </a:lnTo>
                <a:lnTo>
                  <a:pt x="2524" y="249"/>
                </a:lnTo>
                <a:lnTo>
                  <a:pt x="2481" y="242"/>
                </a:lnTo>
                <a:lnTo>
                  <a:pt x="2436" y="238"/>
                </a:lnTo>
                <a:lnTo>
                  <a:pt x="2392" y="235"/>
                </a:lnTo>
                <a:lnTo>
                  <a:pt x="2347" y="235"/>
                </a:lnTo>
                <a:lnTo>
                  <a:pt x="2303" y="237"/>
                </a:lnTo>
                <a:lnTo>
                  <a:pt x="2259" y="239"/>
                </a:lnTo>
                <a:lnTo>
                  <a:pt x="2216" y="246"/>
                </a:lnTo>
                <a:lnTo>
                  <a:pt x="2174" y="254"/>
                </a:lnTo>
                <a:lnTo>
                  <a:pt x="2132" y="265"/>
                </a:lnTo>
                <a:lnTo>
                  <a:pt x="2112" y="272"/>
                </a:lnTo>
                <a:lnTo>
                  <a:pt x="2093" y="280"/>
                </a:lnTo>
                <a:lnTo>
                  <a:pt x="2074" y="288"/>
                </a:lnTo>
                <a:lnTo>
                  <a:pt x="2055" y="296"/>
                </a:lnTo>
                <a:lnTo>
                  <a:pt x="2038" y="305"/>
                </a:lnTo>
                <a:lnTo>
                  <a:pt x="2020" y="316"/>
                </a:lnTo>
                <a:lnTo>
                  <a:pt x="2003" y="327"/>
                </a:lnTo>
                <a:lnTo>
                  <a:pt x="1987" y="339"/>
                </a:lnTo>
                <a:lnTo>
                  <a:pt x="1971" y="352"/>
                </a:lnTo>
                <a:lnTo>
                  <a:pt x="1956" y="366"/>
                </a:lnTo>
                <a:lnTo>
                  <a:pt x="1942" y="379"/>
                </a:lnTo>
                <a:lnTo>
                  <a:pt x="1929" y="395"/>
                </a:lnTo>
                <a:lnTo>
                  <a:pt x="1916" y="412"/>
                </a:lnTo>
                <a:lnTo>
                  <a:pt x="1903" y="429"/>
                </a:lnTo>
                <a:lnTo>
                  <a:pt x="1893" y="447"/>
                </a:lnTo>
                <a:lnTo>
                  <a:pt x="1883" y="465"/>
                </a:lnTo>
                <a:lnTo>
                  <a:pt x="1874" y="486"/>
                </a:lnTo>
                <a:lnTo>
                  <a:pt x="1866" y="507"/>
                </a:lnTo>
                <a:lnTo>
                  <a:pt x="1858" y="529"/>
                </a:lnTo>
                <a:lnTo>
                  <a:pt x="1852" y="551"/>
                </a:lnTo>
                <a:lnTo>
                  <a:pt x="1847" y="576"/>
                </a:lnTo>
                <a:lnTo>
                  <a:pt x="1843" y="601"/>
                </a:lnTo>
                <a:lnTo>
                  <a:pt x="1842" y="619"/>
                </a:lnTo>
                <a:lnTo>
                  <a:pt x="1842" y="636"/>
                </a:lnTo>
                <a:lnTo>
                  <a:pt x="1846" y="673"/>
                </a:lnTo>
                <a:lnTo>
                  <a:pt x="1851" y="708"/>
                </a:lnTo>
                <a:lnTo>
                  <a:pt x="1859" y="742"/>
                </a:lnTo>
                <a:lnTo>
                  <a:pt x="1868" y="777"/>
                </a:lnTo>
                <a:lnTo>
                  <a:pt x="1878" y="811"/>
                </a:lnTo>
                <a:lnTo>
                  <a:pt x="1899" y="880"/>
                </a:lnTo>
                <a:lnTo>
                  <a:pt x="1766" y="889"/>
                </a:lnTo>
                <a:lnTo>
                  <a:pt x="1735" y="896"/>
                </a:lnTo>
                <a:lnTo>
                  <a:pt x="1706" y="903"/>
                </a:lnTo>
                <a:lnTo>
                  <a:pt x="1679" y="911"/>
                </a:lnTo>
                <a:lnTo>
                  <a:pt x="1652" y="920"/>
                </a:lnTo>
                <a:lnTo>
                  <a:pt x="1626" y="931"/>
                </a:lnTo>
                <a:lnTo>
                  <a:pt x="1602" y="942"/>
                </a:lnTo>
                <a:lnTo>
                  <a:pt x="1579" y="954"/>
                </a:lnTo>
                <a:lnTo>
                  <a:pt x="1558" y="966"/>
                </a:lnTo>
                <a:lnTo>
                  <a:pt x="1536" y="979"/>
                </a:lnTo>
                <a:lnTo>
                  <a:pt x="1517" y="994"/>
                </a:lnTo>
                <a:lnTo>
                  <a:pt x="1500" y="1009"/>
                </a:lnTo>
                <a:lnTo>
                  <a:pt x="1484" y="1025"/>
                </a:lnTo>
                <a:lnTo>
                  <a:pt x="1468" y="1041"/>
                </a:lnTo>
                <a:lnTo>
                  <a:pt x="1454" y="1057"/>
                </a:lnTo>
                <a:lnTo>
                  <a:pt x="1441" y="1075"/>
                </a:lnTo>
                <a:lnTo>
                  <a:pt x="1429" y="1092"/>
                </a:lnTo>
                <a:lnTo>
                  <a:pt x="1418" y="1111"/>
                </a:lnTo>
                <a:lnTo>
                  <a:pt x="1408" y="1130"/>
                </a:lnTo>
                <a:lnTo>
                  <a:pt x="1399" y="1149"/>
                </a:lnTo>
                <a:lnTo>
                  <a:pt x="1392" y="1169"/>
                </a:lnTo>
                <a:lnTo>
                  <a:pt x="1386" y="1189"/>
                </a:lnTo>
                <a:lnTo>
                  <a:pt x="1380" y="1209"/>
                </a:lnTo>
                <a:lnTo>
                  <a:pt x="1376" y="1229"/>
                </a:lnTo>
                <a:lnTo>
                  <a:pt x="1373" y="1251"/>
                </a:lnTo>
                <a:lnTo>
                  <a:pt x="1371" y="1271"/>
                </a:lnTo>
                <a:lnTo>
                  <a:pt x="1371" y="1293"/>
                </a:lnTo>
                <a:lnTo>
                  <a:pt x="1371" y="1314"/>
                </a:lnTo>
                <a:lnTo>
                  <a:pt x="1371" y="1334"/>
                </a:lnTo>
                <a:lnTo>
                  <a:pt x="1373" y="1356"/>
                </a:lnTo>
                <a:lnTo>
                  <a:pt x="1376" y="1377"/>
                </a:lnTo>
                <a:lnTo>
                  <a:pt x="1380" y="1399"/>
                </a:lnTo>
                <a:lnTo>
                  <a:pt x="1384" y="1420"/>
                </a:lnTo>
                <a:lnTo>
                  <a:pt x="1391" y="1441"/>
                </a:lnTo>
                <a:lnTo>
                  <a:pt x="1396" y="1462"/>
                </a:lnTo>
                <a:lnTo>
                  <a:pt x="1404" y="1482"/>
                </a:lnTo>
                <a:lnTo>
                  <a:pt x="1412" y="1504"/>
                </a:lnTo>
                <a:lnTo>
                  <a:pt x="1422" y="1524"/>
                </a:lnTo>
                <a:lnTo>
                  <a:pt x="1433" y="1543"/>
                </a:lnTo>
                <a:lnTo>
                  <a:pt x="1443" y="1563"/>
                </a:lnTo>
                <a:lnTo>
                  <a:pt x="1456" y="1582"/>
                </a:lnTo>
                <a:lnTo>
                  <a:pt x="1468" y="1601"/>
                </a:lnTo>
                <a:lnTo>
                  <a:pt x="1481" y="1620"/>
                </a:lnTo>
                <a:lnTo>
                  <a:pt x="1496" y="1638"/>
                </a:lnTo>
                <a:lnTo>
                  <a:pt x="1511" y="1654"/>
                </a:lnTo>
                <a:lnTo>
                  <a:pt x="1525" y="1672"/>
                </a:lnTo>
                <a:lnTo>
                  <a:pt x="1543" y="1688"/>
                </a:lnTo>
                <a:lnTo>
                  <a:pt x="1560" y="1704"/>
                </a:lnTo>
                <a:lnTo>
                  <a:pt x="1578" y="1719"/>
                </a:lnTo>
                <a:lnTo>
                  <a:pt x="1597" y="1734"/>
                </a:lnTo>
                <a:lnTo>
                  <a:pt x="1616" y="1747"/>
                </a:lnTo>
                <a:lnTo>
                  <a:pt x="1636" y="1759"/>
                </a:lnTo>
                <a:lnTo>
                  <a:pt x="1656" y="1771"/>
                </a:lnTo>
                <a:lnTo>
                  <a:pt x="1677" y="1784"/>
                </a:lnTo>
                <a:lnTo>
                  <a:pt x="1699" y="1793"/>
                </a:lnTo>
                <a:lnTo>
                  <a:pt x="1722" y="1802"/>
                </a:lnTo>
                <a:lnTo>
                  <a:pt x="1745" y="1811"/>
                </a:lnTo>
                <a:lnTo>
                  <a:pt x="1769" y="1819"/>
                </a:lnTo>
                <a:lnTo>
                  <a:pt x="1793" y="1825"/>
                </a:lnTo>
                <a:lnTo>
                  <a:pt x="1819" y="1831"/>
                </a:lnTo>
                <a:lnTo>
                  <a:pt x="1843" y="1835"/>
                </a:lnTo>
                <a:lnTo>
                  <a:pt x="1870" y="1837"/>
                </a:lnTo>
                <a:lnTo>
                  <a:pt x="1895" y="1839"/>
                </a:lnTo>
                <a:lnTo>
                  <a:pt x="1924" y="1840"/>
                </a:lnTo>
                <a:lnTo>
                  <a:pt x="1951" y="1839"/>
                </a:lnTo>
                <a:lnTo>
                  <a:pt x="1965" y="1863"/>
                </a:lnTo>
                <a:lnTo>
                  <a:pt x="1981" y="1887"/>
                </a:lnTo>
                <a:lnTo>
                  <a:pt x="1998" y="1910"/>
                </a:lnTo>
                <a:lnTo>
                  <a:pt x="2015" y="1932"/>
                </a:lnTo>
                <a:lnTo>
                  <a:pt x="2034" y="1953"/>
                </a:lnTo>
                <a:lnTo>
                  <a:pt x="2053" y="1975"/>
                </a:lnTo>
                <a:lnTo>
                  <a:pt x="2073" y="1995"/>
                </a:lnTo>
                <a:lnTo>
                  <a:pt x="2094" y="2015"/>
                </a:lnTo>
                <a:lnTo>
                  <a:pt x="2116" y="2034"/>
                </a:lnTo>
                <a:lnTo>
                  <a:pt x="2138" y="2053"/>
                </a:lnTo>
                <a:lnTo>
                  <a:pt x="2160" y="2071"/>
                </a:lnTo>
                <a:lnTo>
                  <a:pt x="2185" y="2089"/>
                </a:lnTo>
                <a:lnTo>
                  <a:pt x="2209" y="2105"/>
                </a:lnTo>
                <a:lnTo>
                  <a:pt x="2233" y="2121"/>
                </a:lnTo>
                <a:lnTo>
                  <a:pt x="2259" y="2137"/>
                </a:lnTo>
                <a:lnTo>
                  <a:pt x="2284" y="2152"/>
                </a:lnTo>
                <a:lnTo>
                  <a:pt x="2310" y="2166"/>
                </a:lnTo>
                <a:lnTo>
                  <a:pt x="2337" y="2179"/>
                </a:lnTo>
                <a:lnTo>
                  <a:pt x="2390" y="2203"/>
                </a:lnTo>
                <a:lnTo>
                  <a:pt x="2446" y="2225"/>
                </a:lnTo>
                <a:lnTo>
                  <a:pt x="2501" y="2244"/>
                </a:lnTo>
                <a:lnTo>
                  <a:pt x="2529" y="2252"/>
                </a:lnTo>
                <a:lnTo>
                  <a:pt x="2557" y="2258"/>
                </a:lnTo>
                <a:lnTo>
                  <a:pt x="2585" y="2265"/>
                </a:lnTo>
                <a:lnTo>
                  <a:pt x="2614" y="2271"/>
                </a:lnTo>
                <a:lnTo>
                  <a:pt x="2642" y="2275"/>
                </a:lnTo>
                <a:lnTo>
                  <a:pt x="2670" y="2279"/>
                </a:lnTo>
                <a:lnTo>
                  <a:pt x="2698" y="2281"/>
                </a:lnTo>
                <a:lnTo>
                  <a:pt x="2727" y="2284"/>
                </a:lnTo>
                <a:lnTo>
                  <a:pt x="2557" y="2478"/>
                </a:lnTo>
                <a:lnTo>
                  <a:pt x="2503" y="2466"/>
                </a:lnTo>
                <a:lnTo>
                  <a:pt x="2448" y="2451"/>
                </a:lnTo>
                <a:lnTo>
                  <a:pt x="2394" y="2433"/>
                </a:lnTo>
                <a:lnTo>
                  <a:pt x="2341" y="2414"/>
                </a:lnTo>
                <a:lnTo>
                  <a:pt x="2288" y="2393"/>
                </a:lnTo>
                <a:lnTo>
                  <a:pt x="2237" y="2369"/>
                </a:lnTo>
                <a:lnTo>
                  <a:pt x="2186" y="2343"/>
                </a:lnTo>
                <a:lnTo>
                  <a:pt x="2138" y="2316"/>
                </a:lnTo>
                <a:lnTo>
                  <a:pt x="2090" y="2288"/>
                </a:lnTo>
                <a:lnTo>
                  <a:pt x="2045" y="2257"/>
                </a:lnTo>
                <a:lnTo>
                  <a:pt x="2002" y="2225"/>
                </a:lnTo>
                <a:lnTo>
                  <a:pt x="1961" y="2191"/>
                </a:lnTo>
                <a:lnTo>
                  <a:pt x="1924" y="2158"/>
                </a:lnTo>
                <a:lnTo>
                  <a:pt x="1889" y="2121"/>
                </a:lnTo>
                <a:lnTo>
                  <a:pt x="1856" y="2085"/>
                </a:lnTo>
                <a:lnTo>
                  <a:pt x="1827" y="2047"/>
                </a:lnTo>
                <a:lnTo>
                  <a:pt x="1789" y="2045"/>
                </a:lnTo>
                <a:lnTo>
                  <a:pt x="1753" y="2041"/>
                </a:lnTo>
                <a:lnTo>
                  <a:pt x="1718" y="2034"/>
                </a:lnTo>
                <a:lnTo>
                  <a:pt x="1684" y="2027"/>
                </a:lnTo>
                <a:lnTo>
                  <a:pt x="1651" y="2018"/>
                </a:lnTo>
                <a:lnTo>
                  <a:pt x="1618" y="2007"/>
                </a:lnTo>
                <a:lnTo>
                  <a:pt x="1587" y="1996"/>
                </a:lnTo>
                <a:lnTo>
                  <a:pt x="1558" y="1983"/>
                </a:lnTo>
                <a:lnTo>
                  <a:pt x="1528" y="1969"/>
                </a:lnTo>
                <a:lnTo>
                  <a:pt x="1500" y="1953"/>
                </a:lnTo>
                <a:lnTo>
                  <a:pt x="1473" y="1937"/>
                </a:lnTo>
                <a:lnTo>
                  <a:pt x="1447" y="1919"/>
                </a:lnTo>
                <a:lnTo>
                  <a:pt x="1422" y="1901"/>
                </a:lnTo>
                <a:lnTo>
                  <a:pt x="1398" y="1882"/>
                </a:lnTo>
                <a:lnTo>
                  <a:pt x="1375" y="1860"/>
                </a:lnTo>
                <a:lnTo>
                  <a:pt x="1353" y="1839"/>
                </a:lnTo>
                <a:lnTo>
                  <a:pt x="1333" y="1817"/>
                </a:lnTo>
                <a:lnTo>
                  <a:pt x="1313" y="1794"/>
                </a:lnTo>
                <a:lnTo>
                  <a:pt x="1294" y="1770"/>
                </a:lnTo>
                <a:lnTo>
                  <a:pt x="1277" y="1746"/>
                </a:lnTo>
                <a:lnTo>
                  <a:pt x="1260" y="1720"/>
                </a:lnTo>
                <a:lnTo>
                  <a:pt x="1246" y="1695"/>
                </a:lnTo>
                <a:lnTo>
                  <a:pt x="1231" y="1669"/>
                </a:lnTo>
                <a:lnTo>
                  <a:pt x="1217" y="1642"/>
                </a:lnTo>
                <a:lnTo>
                  <a:pt x="1205" y="1614"/>
                </a:lnTo>
                <a:lnTo>
                  <a:pt x="1195" y="1587"/>
                </a:lnTo>
                <a:lnTo>
                  <a:pt x="1185" y="1559"/>
                </a:lnTo>
                <a:lnTo>
                  <a:pt x="1176" y="1531"/>
                </a:lnTo>
                <a:lnTo>
                  <a:pt x="1169" y="1501"/>
                </a:lnTo>
                <a:lnTo>
                  <a:pt x="1162" y="1473"/>
                </a:lnTo>
                <a:lnTo>
                  <a:pt x="1157" y="1443"/>
                </a:lnTo>
                <a:lnTo>
                  <a:pt x="1153" y="1414"/>
                </a:lnTo>
                <a:lnTo>
                  <a:pt x="1149" y="1385"/>
                </a:lnTo>
                <a:lnTo>
                  <a:pt x="1147" y="1356"/>
                </a:lnTo>
                <a:lnTo>
                  <a:pt x="1146" y="1326"/>
                </a:lnTo>
                <a:lnTo>
                  <a:pt x="1146" y="1297"/>
                </a:lnTo>
                <a:lnTo>
                  <a:pt x="1147" y="1268"/>
                </a:lnTo>
                <a:lnTo>
                  <a:pt x="1150" y="1239"/>
                </a:lnTo>
                <a:lnTo>
                  <a:pt x="1154" y="1211"/>
                </a:lnTo>
                <a:lnTo>
                  <a:pt x="1158" y="1181"/>
                </a:lnTo>
                <a:lnTo>
                  <a:pt x="1165" y="1153"/>
                </a:lnTo>
                <a:lnTo>
                  <a:pt x="1172" y="1125"/>
                </a:lnTo>
                <a:lnTo>
                  <a:pt x="1180" y="1098"/>
                </a:lnTo>
                <a:lnTo>
                  <a:pt x="1189" y="1071"/>
                </a:lnTo>
                <a:lnTo>
                  <a:pt x="1200" y="1044"/>
                </a:lnTo>
                <a:lnTo>
                  <a:pt x="1212" y="1018"/>
                </a:lnTo>
                <a:lnTo>
                  <a:pt x="1225" y="993"/>
                </a:lnTo>
                <a:lnTo>
                  <a:pt x="1239" y="967"/>
                </a:lnTo>
                <a:lnTo>
                  <a:pt x="1255" y="943"/>
                </a:lnTo>
                <a:lnTo>
                  <a:pt x="1271" y="919"/>
                </a:lnTo>
                <a:lnTo>
                  <a:pt x="1289" y="897"/>
                </a:lnTo>
                <a:lnTo>
                  <a:pt x="1308" y="874"/>
                </a:lnTo>
                <a:lnTo>
                  <a:pt x="1328" y="854"/>
                </a:lnTo>
                <a:lnTo>
                  <a:pt x="1349" y="834"/>
                </a:lnTo>
                <a:lnTo>
                  <a:pt x="1372" y="814"/>
                </a:lnTo>
                <a:lnTo>
                  <a:pt x="1396" y="796"/>
                </a:lnTo>
                <a:lnTo>
                  <a:pt x="1421" y="779"/>
                </a:lnTo>
                <a:lnTo>
                  <a:pt x="1447" y="763"/>
                </a:lnTo>
                <a:lnTo>
                  <a:pt x="1474" y="748"/>
                </a:lnTo>
                <a:lnTo>
                  <a:pt x="1504" y="734"/>
                </a:lnTo>
                <a:lnTo>
                  <a:pt x="1534" y="722"/>
                </a:lnTo>
                <a:lnTo>
                  <a:pt x="1564" y="710"/>
                </a:lnTo>
                <a:lnTo>
                  <a:pt x="1597" y="701"/>
                </a:lnTo>
                <a:lnTo>
                  <a:pt x="1630" y="693"/>
                </a:lnTo>
                <a:lnTo>
                  <a:pt x="1628" y="666"/>
                </a:lnTo>
                <a:lnTo>
                  <a:pt x="1626" y="640"/>
                </a:lnTo>
                <a:lnTo>
                  <a:pt x="1626" y="613"/>
                </a:lnTo>
                <a:lnTo>
                  <a:pt x="1628" y="588"/>
                </a:lnTo>
                <a:lnTo>
                  <a:pt x="1629" y="561"/>
                </a:lnTo>
                <a:lnTo>
                  <a:pt x="1633" y="535"/>
                </a:lnTo>
                <a:lnTo>
                  <a:pt x="1637" y="510"/>
                </a:lnTo>
                <a:lnTo>
                  <a:pt x="1642" y="484"/>
                </a:lnTo>
                <a:lnTo>
                  <a:pt x="1649" y="460"/>
                </a:lnTo>
                <a:lnTo>
                  <a:pt x="1656" y="436"/>
                </a:lnTo>
                <a:lnTo>
                  <a:pt x="1664" y="413"/>
                </a:lnTo>
                <a:lnTo>
                  <a:pt x="1673" y="390"/>
                </a:lnTo>
                <a:lnTo>
                  <a:pt x="1684" y="369"/>
                </a:lnTo>
                <a:lnTo>
                  <a:pt x="1695" y="347"/>
                </a:lnTo>
                <a:lnTo>
                  <a:pt x="1707" y="327"/>
                </a:lnTo>
                <a:lnTo>
                  <a:pt x="1719" y="307"/>
                </a:lnTo>
                <a:lnTo>
                  <a:pt x="1733" y="287"/>
                </a:lnTo>
                <a:lnTo>
                  <a:pt x="1747" y="268"/>
                </a:lnTo>
                <a:lnTo>
                  <a:pt x="1762" y="250"/>
                </a:lnTo>
                <a:lnTo>
                  <a:pt x="1778" y="231"/>
                </a:lnTo>
                <a:lnTo>
                  <a:pt x="1794" y="215"/>
                </a:lnTo>
                <a:lnTo>
                  <a:pt x="1812" y="199"/>
                </a:lnTo>
                <a:lnTo>
                  <a:pt x="1831" y="183"/>
                </a:lnTo>
                <a:lnTo>
                  <a:pt x="1848" y="168"/>
                </a:lnTo>
                <a:lnTo>
                  <a:pt x="1868" y="153"/>
                </a:lnTo>
                <a:lnTo>
                  <a:pt x="1887" y="140"/>
                </a:lnTo>
                <a:lnTo>
                  <a:pt x="1907" y="126"/>
                </a:lnTo>
                <a:lnTo>
                  <a:pt x="1929" y="114"/>
                </a:lnTo>
                <a:lnTo>
                  <a:pt x="1951" y="102"/>
                </a:lnTo>
                <a:lnTo>
                  <a:pt x="1972" y="90"/>
                </a:lnTo>
                <a:lnTo>
                  <a:pt x="2018" y="70"/>
                </a:lnTo>
                <a:lnTo>
                  <a:pt x="2065" y="52"/>
                </a:lnTo>
                <a:lnTo>
                  <a:pt x="2113" y="36"/>
                </a:lnTo>
                <a:lnTo>
                  <a:pt x="2163" y="24"/>
                </a:lnTo>
                <a:lnTo>
                  <a:pt x="2214" y="13"/>
                </a:lnTo>
                <a:lnTo>
                  <a:pt x="2265" y="7"/>
                </a:lnTo>
                <a:lnTo>
                  <a:pt x="2319" y="1"/>
                </a:lnTo>
                <a:lnTo>
                  <a:pt x="2372" y="0"/>
                </a:lnTo>
                <a:lnTo>
                  <a:pt x="2425" y="1"/>
                </a:lnTo>
                <a:lnTo>
                  <a:pt x="2479" y="4"/>
                </a:lnTo>
                <a:lnTo>
                  <a:pt x="2533" y="11"/>
                </a:lnTo>
                <a:lnTo>
                  <a:pt x="2587" y="19"/>
                </a:lnTo>
                <a:lnTo>
                  <a:pt x="2639" y="31"/>
                </a:lnTo>
                <a:lnTo>
                  <a:pt x="2692" y="46"/>
                </a:lnTo>
                <a:lnTo>
                  <a:pt x="2743" y="62"/>
                </a:lnTo>
                <a:lnTo>
                  <a:pt x="2794" y="82"/>
                </a:lnTo>
                <a:lnTo>
                  <a:pt x="2844" y="105"/>
                </a:lnTo>
                <a:lnTo>
                  <a:pt x="2892" y="130"/>
                </a:lnTo>
                <a:lnTo>
                  <a:pt x="2915" y="145"/>
                </a:lnTo>
                <a:lnTo>
                  <a:pt x="2938" y="160"/>
                </a:lnTo>
                <a:lnTo>
                  <a:pt x="2966" y="152"/>
                </a:lnTo>
                <a:lnTo>
                  <a:pt x="2994" y="145"/>
                </a:lnTo>
                <a:lnTo>
                  <a:pt x="3024" y="141"/>
                </a:lnTo>
                <a:lnTo>
                  <a:pt x="3054" y="136"/>
                </a:lnTo>
                <a:lnTo>
                  <a:pt x="3083" y="133"/>
                </a:lnTo>
                <a:lnTo>
                  <a:pt x="3114" y="130"/>
                </a:lnTo>
                <a:lnTo>
                  <a:pt x="3145" y="129"/>
                </a:lnTo>
                <a:lnTo>
                  <a:pt x="3177" y="129"/>
                </a:lnTo>
                <a:lnTo>
                  <a:pt x="3208" y="129"/>
                </a:lnTo>
                <a:lnTo>
                  <a:pt x="3241" y="132"/>
                </a:lnTo>
                <a:lnTo>
                  <a:pt x="3274" y="133"/>
                </a:lnTo>
                <a:lnTo>
                  <a:pt x="3306" y="137"/>
                </a:lnTo>
                <a:lnTo>
                  <a:pt x="3340" y="141"/>
                </a:lnTo>
                <a:lnTo>
                  <a:pt x="3372" y="147"/>
                </a:lnTo>
                <a:lnTo>
                  <a:pt x="3406" y="153"/>
                </a:lnTo>
                <a:lnTo>
                  <a:pt x="3440" y="160"/>
                </a:lnTo>
                <a:lnTo>
                  <a:pt x="3473" y="168"/>
                </a:lnTo>
                <a:lnTo>
                  <a:pt x="3507" y="176"/>
                </a:lnTo>
                <a:lnTo>
                  <a:pt x="3539" y="187"/>
                </a:lnTo>
                <a:lnTo>
                  <a:pt x="3573" y="198"/>
                </a:lnTo>
                <a:lnTo>
                  <a:pt x="3606" y="208"/>
                </a:lnTo>
                <a:lnTo>
                  <a:pt x="3640" y="221"/>
                </a:lnTo>
                <a:lnTo>
                  <a:pt x="3672" y="234"/>
                </a:lnTo>
                <a:lnTo>
                  <a:pt x="3705" y="247"/>
                </a:lnTo>
                <a:lnTo>
                  <a:pt x="3737" y="262"/>
                </a:lnTo>
                <a:lnTo>
                  <a:pt x="3769" y="278"/>
                </a:lnTo>
                <a:lnTo>
                  <a:pt x="3802" y="295"/>
                </a:lnTo>
                <a:lnTo>
                  <a:pt x="3832" y="311"/>
                </a:lnTo>
                <a:lnTo>
                  <a:pt x="3863" y="330"/>
                </a:lnTo>
                <a:lnTo>
                  <a:pt x="3893" y="347"/>
                </a:lnTo>
                <a:lnTo>
                  <a:pt x="3924" y="367"/>
                </a:lnTo>
                <a:lnTo>
                  <a:pt x="3952" y="387"/>
                </a:lnTo>
                <a:lnTo>
                  <a:pt x="3982" y="408"/>
                </a:lnTo>
                <a:lnTo>
                  <a:pt x="4009" y="429"/>
                </a:lnTo>
                <a:lnTo>
                  <a:pt x="4037" y="452"/>
                </a:lnTo>
                <a:lnTo>
                  <a:pt x="4064" y="475"/>
                </a:lnTo>
                <a:lnTo>
                  <a:pt x="4089" y="498"/>
                </a:lnTo>
                <a:lnTo>
                  <a:pt x="4114" y="522"/>
                </a:lnTo>
                <a:lnTo>
                  <a:pt x="4138" y="547"/>
                </a:lnTo>
                <a:lnTo>
                  <a:pt x="4162" y="573"/>
                </a:lnTo>
                <a:lnTo>
                  <a:pt x="4184" y="600"/>
                </a:lnTo>
                <a:lnTo>
                  <a:pt x="4205" y="627"/>
                </a:lnTo>
                <a:lnTo>
                  <a:pt x="4227" y="654"/>
                </a:lnTo>
                <a:lnTo>
                  <a:pt x="4245" y="682"/>
                </a:lnTo>
                <a:lnTo>
                  <a:pt x="4264" y="710"/>
                </a:lnTo>
                <a:lnTo>
                  <a:pt x="4280" y="740"/>
                </a:lnTo>
                <a:lnTo>
                  <a:pt x="4297" y="771"/>
                </a:lnTo>
                <a:lnTo>
                  <a:pt x="4311" y="800"/>
                </a:lnTo>
                <a:lnTo>
                  <a:pt x="4325" y="833"/>
                </a:lnTo>
                <a:lnTo>
                  <a:pt x="4337" y="864"/>
                </a:lnTo>
                <a:lnTo>
                  <a:pt x="4348" y="896"/>
                </a:lnTo>
                <a:lnTo>
                  <a:pt x="4357" y="928"/>
                </a:lnTo>
                <a:lnTo>
                  <a:pt x="4365" y="962"/>
                </a:lnTo>
                <a:lnTo>
                  <a:pt x="4372" y="995"/>
                </a:lnTo>
                <a:lnTo>
                  <a:pt x="4377" y="1030"/>
                </a:lnTo>
                <a:lnTo>
                  <a:pt x="4381" y="1065"/>
                </a:lnTo>
                <a:lnTo>
                  <a:pt x="4383" y="1100"/>
                </a:lnTo>
                <a:lnTo>
                  <a:pt x="4384" y="1137"/>
                </a:lnTo>
                <a:lnTo>
                  <a:pt x="4383" y="1173"/>
                </a:lnTo>
                <a:lnTo>
                  <a:pt x="4380" y="1209"/>
                </a:lnTo>
                <a:lnTo>
                  <a:pt x="4375" y="1247"/>
                </a:lnTo>
                <a:lnTo>
                  <a:pt x="4368" y="1285"/>
                </a:lnTo>
                <a:lnTo>
                  <a:pt x="4360" y="1324"/>
                </a:lnTo>
                <a:lnTo>
                  <a:pt x="4350" y="1361"/>
                </a:lnTo>
                <a:lnTo>
                  <a:pt x="4362" y="1408"/>
                </a:lnTo>
                <a:lnTo>
                  <a:pt x="4372" y="1455"/>
                </a:lnTo>
                <a:lnTo>
                  <a:pt x="4379" y="1501"/>
                </a:lnTo>
                <a:lnTo>
                  <a:pt x="4383" y="1546"/>
                </a:lnTo>
                <a:lnTo>
                  <a:pt x="4383" y="1590"/>
                </a:lnTo>
                <a:lnTo>
                  <a:pt x="4381" y="1634"/>
                </a:lnTo>
                <a:lnTo>
                  <a:pt x="4376" y="1676"/>
                </a:lnTo>
                <a:lnTo>
                  <a:pt x="4369" y="1718"/>
                </a:lnTo>
                <a:lnTo>
                  <a:pt x="4360" y="1757"/>
                </a:lnTo>
                <a:lnTo>
                  <a:pt x="4346" y="1796"/>
                </a:lnTo>
                <a:lnTo>
                  <a:pt x="4332" y="1833"/>
                </a:lnTo>
                <a:lnTo>
                  <a:pt x="4315" y="1870"/>
                </a:lnTo>
                <a:lnTo>
                  <a:pt x="4295" y="1905"/>
                </a:lnTo>
                <a:lnTo>
                  <a:pt x="4275" y="1938"/>
                </a:lnTo>
                <a:lnTo>
                  <a:pt x="4251" y="1971"/>
                </a:lnTo>
                <a:lnTo>
                  <a:pt x="4225" y="2002"/>
                </a:lnTo>
                <a:lnTo>
                  <a:pt x="4198" y="2030"/>
                </a:lnTo>
                <a:lnTo>
                  <a:pt x="4169" y="2057"/>
                </a:lnTo>
                <a:lnTo>
                  <a:pt x="4139" y="2082"/>
                </a:lnTo>
                <a:lnTo>
                  <a:pt x="4107" y="2105"/>
                </a:lnTo>
                <a:lnTo>
                  <a:pt x="4072" y="2127"/>
                </a:lnTo>
                <a:lnTo>
                  <a:pt x="4037" y="2147"/>
                </a:lnTo>
                <a:lnTo>
                  <a:pt x="4001" y="2164"/>
                </a:lnTo>
                <a:lnTo>
                  <a:pt x="3963" y="2179"/>
                </a:lnTo>
                <a:lnTo>
                  <a:pt x="3923" y="2193"/>
                </a:lnTo>
                <a:lnTo>
                  <a:pt x="3884" y="2203"/>
                </a:lnTo>
                <a:lnTo>
                  <a:pt x="3842" y="2211"/>
                </a:lnTo>
                <a:lnTo>
                  <a:pt x="3799" y="2218"/>
                </a:lnTo>
                <a:lnTo>
                  <a:pt x="3756" y="2221"/>
                </a:lnTo>
                <a:lnTo>
                  <a:pt x="3713" y="2222"/>
                </a:lnTo>
                <a:lnTo>
                  <a:pt x="3667" y="2221"/>
                </a:lnTo>
                <a:lnTo>
                  <a:pt x="3623" y="2217"/>
                </a:lnTo>
                <a:lnTo>
                  <a:pt x="3598" y="2245"/>
                </a:lnTo>
                <a:lnTo>
                  <a:pt x="3573" y="2273"/>
                </a:lnTo>
                <a:lnTo>
                  <a:pt x="3546" y="2299"/>
                </a:lnTo>
                <a:lnTo>
                  <a:pt x="3516" y="2323"/>
                </a:lnTo>
                <a:lnTo>
                  <a:pt x="3485" y="2346"/>
                </a:lnTo>
                <a:lnTo>
                  <a:pt x="3454" y="2367"/>
                </a:lnTo>
                <a:lnTo>
                  <a:pt x="3422" y="2386"/>
                </a:lnTo>
                <a:lnTo>
                  <a:pt x="3389" y="2405"/>
                </a:lnTo>
                <a:lnTo>
                  <a:pt x="3399" y="2424"/>
                </a:lnTo>
                <a:lnTo>
                  <a:pt x="3409" y="2445"/>
                </a:lnTo>
                <a:close/>
                <a:moveTo>
                  <a:pt x="3083" y="1683"/>
                </a:moveTo>
                <a:lnTo>
                  <a:pt x="2641" y="1683"/>
                </a:lnTo>
                <a:lnTo>
                  <a:pt x="2641" y="1575"/>
                </a:lnTo>
                <a:lnTo>
                  <a:pt x="3083" y="1575"/>
                </a:lnTo>
                <a:lnTo>
                  <a:pt x="3083" y="1683"/>
                </a:lnTo>
                <a:close/>
                <a:moveTo>
                  <a:pt x="0" y="3109"/>
                </a:moveTo>
                <a:lnTo>
                  <a:pt x="0" y="3109"/>
                </a:lnTo>
                <a:lnTo>
                  <a:pt x="0" y="3098"/>
                </a:lnTo>
                <a:lnTo>
                  <a:pt x="1" y="3088"/>
                </a:lnTo>
                <a:lnTo>
                  <a:pt x="4" y="3079"/>
                </a:lnTo>
                <a:lnTo>
                  <a:pt x="8" y="3070"/>
                </a:lnTo>
                <a:lnTo>
                  <a:pt x="12" y="3061"/>
                </a:lnTo>
                <a:lnTo>
                  <a:pt x="16" y="3053"/>
                </a:lnTo>
                <a:lnTo>
                  <a:pt x="23" y="3045"/>
                </a:lnTo>
                <a:lnTo>
                  <a:pt x="28" y="3039"/>
                </a:lnTo>
                <a:lnTo>
                  <a:pt x="36" y="3032"/>
                </a:lnTo>
                <a:lnTo>
                  <a:pt x="43" y="3026"/>
                </a:lnTo>
                <a:lnTo>
                  <a:pt x="51" y="3021"/>
                </a:lnTo>
                <a:lnTo>
                  <a:pt x="61" y="3017"/>
                </a:lnTo>
                <a:lnTo>
                  <a:pt x="69" y="3014"/>
                </a:lnTo>
                <a:lnTo>
                  <a:pt x="78" y="3012"/>
                </a:lnTo>
                <a:lnTo>
                  <a:pt x="89" y="3010"/>
                </a:lnTo>
                <a:lnTo>
                  <a:pt x="98" y="3009"/>
                </a:lnTo>
                <a:lnTo>
                  <a:pt x="700" y="3009"/>
                </a:lnTo>
                <a:lnTo>
                  <a:pt x="700" y="4763"/>
                </a:lnTo>
                <a:lnTo>
                  <a:pt x="309" y="4763"/>
                </a:lnTo>
                <a:lnTo>
                  <a:pt x="0" y="3109"/>
                </a:lnTo>
                <a:close/>
                <a:moveTo>
                  <a:pt x="862" y="3009"/>
                </a:moveTo>
                <a:lnTo>
                  <a:pt x="862" y="3009"/>
                </a:lnTo>
                <a:lnTo>
                  <a:pt x="904" y="2973"/>
                </a:lnTo>
                <a:lnTo>
                  <a:pt x="946" y="2939"/>
                </a:lnTo>
                <a:lnTo>
                  <a:pt x="969" y="2923"/>
                </a:lnTo>
                <a:lnTo>
                  <a:pt x="990" y="2908"/>
                </a:lnTo>
                <a:lnTo>
                  <a:pt x="1013" y="2893"/>
                </a:lnTo>
                <a:lnTo>
                  <a:pt x="1034" y="2880"/>
                </a:lnTo>
                <a:lnTo>
                  <a:pt x="1059" y="2866"/>
                </a:lnTo>
                <a:lnTo>
                  <a:pt x="1082" y="2854"/>
                </a:lnTo>
                <a:lnTo>
                  <a:pt x="1106" y="2844"/>
                </a:lnTo>
                <a:lnTo>
                  <a:pt x="1129" y="2833"/>
                </a:lnTo>
                <a:lnTo>
                  <a:pt x="1154" y="2823"/>
                </a:lnTo>
                <a:lnTo>
                  <a:pt x="1178" y="2814"/>
                </a:lnTo>
                <a:lnTo>
                  <a:pt x="1204" y="2806"/>
                </a:lnTo>
                <a:lnTo>
                  <a:pt x="1230" y="2799"/>
                </a:lnTo>
                <a:lnTo>
                  <a:pt x="1255" y="2792"/>
                </a:lnTo>
                <a:lnTo>
                  <a:pt x="1281" y="2786"/>
                </a:lnTo>
                <a:lnTo>
                  <a:pt x="1308" y="2780"/>
                </a:lnTo>
                <a:lnTo>
                  <a:pt x="1334" y="2776"/>
                </a:lnTo>
                <a:lnTo>
                  <a:pt x="1361" y="2774"/>
                </a:lnTo>
                <a:lnTo>
                  <a:pt x="1390" y="2771"/>
                </a:lnTo>
                <a:lnTo>
                  <a:pt x="1418" y="2768"/>
                </a:lnTo>
                <a:lnTo>
                  <a:pt x="1446" y="2767"/>
                </a:lnTo>
                <a:lnTo>
                  <a:pt x="1504" y="2768"/>
                </a:lnTo>
                <a:lnTo>
                  <a:pt x="1563" y="2771"/>
                </a:lnTo>
                <a:lnTo>
                  <a:pt x="1624" y="2778"/>
                </a:lnTo>
                <a:lnTo>
                  <a:pt x="1687" y="2787"/>
                </a:lnTo>
                <a:lnTo>
                  <a:pt x="2183" y="2628"/>
                </a:lnTo>
                <a:lnTo>
                  <a:pt x="2201" y="2658"/>
                </a:lnTo>
                <a:lnTo>
                  <a:pt x="2218" y="2688"/>
                </a:lnTo>
                <a:lnTo>
                  <a:pt x="2233" y="2717"/>
                </a:lnTo>
                <a:lnTo>
                  <a:pt x="2246" y="2745"/>
                </a:lnTo>
                <a:lnTo>
                  <a:pt x="2257" y="2775"/>
                </a:lnTo>
                <a:lnTo>
                  <a:pt x="2268" y="2803"/>
                </a:lnTo>
                <a:lnTo>
                  <a:pt x="2276" y="2830"/>
                </a:lnTo>
                <a:lnTo>
                  <a:pt x="2281" y="2858"/>
                </a:lnTo>
                <a:lnTo>
                  <a:pt x="2287" y="2885"/>
                </a:lnTo>
                <a:lnTo>
                  <a:pt x="2290" y="2912"/>
                </a:lnTo>
                <a:lnTo>
                  <a:pt x="2291" y="2938"/>
                </a:lnTo>
                <a:lnTo>
                  <a:pt x="2291" y="2963"/>
                </a:lnTo>
                <a:lnTo>
                  <a:pt x="2288" y="2989"/>
                </a:lnTo>
                <a:lnTo>
                  <a:pt x="2285" y="3014"/>
                </a:lnTo>
                <a:lnTo>
                  <a:pt x="2280" y="3039"/>
                </a:lnTo>
                <a:lnTo>
                  <a:pt x="2273" y="3063"/>
                </a:lnTo>
                <a:lnTo>
                  <a:pt x="2265" y="3087"/>
                </a:lnTo>
                <a:lnTo>
                  <a:pt x="2256" y="3110"/>
                </a:lnTo>
                <a:lnTo>
                  <a:pt x="2244" y="3134"/>
                </a:lnTo>
                <a:lnTo>
                  <a:pt x="2232" y="3156"/>
                </a:lnTo>
                <a:lnTo>
                  <a:pt x="2217" y="3178"/>
                </a:lnTo>
                <a:lnTo>
                  <a:pt x="2202" y="3200"/>
                </a:lnTo>
                <a:lnTo>
                  <a:pt x="2185" y="3222"/>
                </a:lnTo>
                <a:lnTo>
                  <a:pt x="2166" y="3243"/>
                </a:lnTo>
                <a:lnTo>
                  <a:pt x="2146" y="3263"/>
                </a:lnTo>
                <a:lnTo>
                  <a:pt x="2125" y="3283"/>
                </a:lnTo>
                <a:lnTo>
                  <a:pt x="2103" y="3304"/>
                </a:lnTo>
                <a:lnTo>
                  <a:pt x="2078" y="3322"/>
                </a:lnTo>
                <a:lnTo>
                  <a:pt x="2053" y="3341"/>
                </a:lnTo>
                <a:lnTo>
                  <a:pt x="2026" y="3360"/>
                </a:lnTo>
                <a:lnTo>
                  <a:pt x="1998" y="3378"/>
                </a:lnTo>
                <a:lnTo>
                  <a:pt x="1968" y="3396"/>
                </a:lnTo>
                <a:lnTo>
                  <a:pt x="2002" y="3445"/>
                </a:lnTo>
                <a:lnTo>
                  <a:pt x="2646" y="3445"/>
                </a:lnTo>
                <a:lnTo>
                  <a:pt x="3008" y="3326"/>
                </a:lnTo>
                <a:lnTo>
                  <a:pt x="3359" y="3211"/>
                </a:lnTo>
                <a:lnTo>
                  <a:pt x="3391" y="3201"/>
                </a:lnTo>
                <a:lnTo>
                  <a:pt x="3424" y="3193"/>
                </a:lnTo>
                <a:lnTo>
                  <a:pt x="3454" y="3188"/>
                </a:lnTo>
                <a:lnTo>
                  <a:pt x="3483" y="3184"/>
                </a:lnTo>
                <a:lnTo>
                  <a:pt x="3511" y="3183"/>
                </a:lnTo>
                <a:lnTo>
                  <a:pt x="3538" y="3184"/>
                </a:lnTo>
                <a:lnTo>
                  <a:pt x="3563" y="3185"/>
                </a:lnTo>
                <a:lnTo>
                  <a:pt x="3586" y="3189"/>
                </a:lnTo>
                <a:lnTo>
                  <a:pt x="3609" y="3196"/>
                </a:lnTo>
                <a:lnTo>
                  <a:pt x="3631" y="3203"/>
                </a:lnTo>
                <a:lnTo>
                  <a:pt x="3650" y="3212"/>
                </a:lnTo>
                <a:lnTo>
                  <a:pt x="3667" y="3222"/>
                </a:lnTo>
                <a:lnTo>
                  <a:pt x="3684" y="3232"/>
                </a:lnTo>
                <a:lnTo>
                  <a:pt x="3699" y="3246"/>
                </a:lnTo>
                <a:lnTo>
                  <a:pt x="3711" y="3259"/>
                </a:lnTo>
                <a:lnTo>
                  <a:pt x="3724" y="3274"/>
                </a:lnTo>
                <a:lnTo>
                  <a:pt x="3733" y="3289"/>
                </a:lnTo>
                <a:lnTo>
                  <a:pt x="3741" y="3305"/>
                </a:lnTo>
                <a:lnTo>
                  <a:pt x="3748" y="3322"/>
                </a:lnTo>
                <a:lnTo>
                  <a:pt x="3753" y="3340"/>
                </a:lnTo>
                <a:lnTo>
                  <a:pt x="3756" y="3357"/>
                </a:lnTo>
                <a:lnTo>
                  <a:pt x="3757" y="3376"/>
                </a:lnTo>
                <a:lnTo>
                  <a:pt x="3756" y="3395"/>
                </a:lnTo>
                <a:lnTo>
                  <a:pt x="3753" y="3415"/>
                </a:lnTo>
                <a:lnTo>
                  <a:pt x="3749" y="3434"/>
                </a:lnTo>
                <a:lnTo>
                  <a:pt x="3742" y="3453"/>
                </a:lnTo>
                <a:lnTo>
                  <a:pt x="3734" y="3473"/>
                </a:lnTo>
                <a:lnTo>
                  <a:pt x="3724" y="3492"/>
                </a:lnTo>
                <a:lnTo>
                  <a:pt x="3711" y="3512"/>
                </a:lnTo>
                <a:lnTo>
                  <a:pt x="3697" y="3531"/>
                </a:lnTo>
                <a:lnTo>
                  <a:pt x="3680" y="3550"/>
                </a:lnTo>
                <a:lnTo>
                  <a:pt x="3662" y="3567"/>
                </a:lnTo>
                <a:lnTo>
                  <a:pt x="3043" y="4128"/>
                </a:lnTo>
                <a:lnTo>
                  <a:pt x="3007" y="4159"/>
                </a:lnTo>
                <a:lnTo>
                  <a:pt x="2970" y="4186"/>
                </a:lnTo>
                <a:lnTo>
                  <a:pt x="2933" y="4212"/>
                </a:lnTo>
                <a:lnTo>
                  <a:pt x="2895" y="4234"/>
                </a:lnTo>
                <a:lnTo>
                  <a:pt x="2856" y="4256"/>
                </a:lnTo>
                <a:lnTo>
                  <a:pt x="2815" y="4273"/>
                </a:lnTo>
                <a:lnTo>
                  <a:pt x="2775" y="4290"/>
                </a:lnTo>
                <a:lnTo>
                  <a:pt x="2736" y="4304"/>
                </a:lnTo>
                <a:lnTo>
                  <a:pt x="2696" y="4316"/>
                </a:lnTo>
                <a:lnTo>
                  <a:pt x="2655" y="4327"/>
                </a:lnTo>
                <a:lnTo>
                  <a:pt x="2615" y="4335"/>
                </a:lnTo>
                <a:lnTo>
                  <a:pt x="2576" y="4342"/>
                </a:lnTo>
                <a:lnTo>
                  <a:pt x="2537" y="4347"/>
                </a:lnTo>
                <a:lnTo>
                  <a:pt x="2499" y="4350"/>
                </a:lnTo>
                <a:lnTo>
                  <a:pt x="2463" y="4351"/>
                </a:lnTo>
                <a:lnTo>
                  <a:pt x="2427" y="4353"/>
                </a:lnTo>
                <a:lnTo>
                  <a:pt x="857" y="4341"/>
                </a:lnTo>
                <a:lnTo>
                  <a:pt x="857" y="4125"/>
                </a:lnTo>
                <a:lnTo>
                  <a:pt x="2407" y="4147"/>
                </a:lnTo>
                <a:lnTo>
                  <a:pt x="2446" y="4147"/>
                </a:lnTo>
                <a:lnTo>
                  <a:pt x="2483" y="4144"/>
                </a:lnTo>
                <a:lnTo>
                  <a:pt x="2521" y="4139"/>
                </a:lnTo>
                <a:lnTo>
                  <a:pt x="2557" y="4132"/>
                </a:lnTo>
                <a:lnTo>
                  <a:pt x="2592" y="4124"/>
                </a:lnTo>
                <a:lnTo>
                  <a:pt x="2627" y="4115"/>
                </a:lnTo>
                <a:lnTo>
                  <a:pt x="2661" y="4104"/>
                </a:lnTo>
                <a:lnTo>
                  <a:pt x="2692" y="4092"/>
                </a:lnTo>
                <a:lnTo>
                  <a:pt x="2724" y="4078"/>
                </a:lnTo>
                <a:lnTo>
                  <a:pt x="2754" y="4064"/>
                </a:lnTo>
                <a:lnTo>
                  <a:pt x="2782" y="4049"/>
                </a:lnTo>
                <a:lnTo>
                  <a:pt x="2809" y="4033"/>
                </a:lnTo>
                <a:lnTo>
                  <a:pt x="2834" y="4016"/>
                </a:lnTo>
                <a:lnTo>
                  <a:pt x="2859" y="3999"/>
                </a:lnTo>
                <a:lnTo>
                  <a:pt x="2881" y="3981"/>
                </a:lnTo>
                <a:lnTo>
                  <a:pt x="2903" y="3964"/>
                </a:lnTo>
                <a:lnTo>
                  <a:pt x="3530" y="3433"/>
                </a:lnTo>
                <a:lnTo>
                  <a:pt x="3535" y="3427"/>
                </a:lnTo>
                <a:lnTo>
                  <a:pt x="3541" y="3421"/>
                </a:lnTo>
                <a:lnTo>
                  <a:pt x="3543" y="3414"/>
                </a:lnTo>
                <a:lnTo>
                  <a:pt x="3546" y="3406"/>
                </a:lnTo>
                <a:lnTo>
                  <a:pt x="3546" y="3399"/>
                </a:lnTo>
                <a:lnTo>
                  <a:pt x="3546" y="3392"/>
                </a:lnTo>
                <a:lnTo>
                  <a:pt x="3543" y="3386"/>
                </a:lnTo>
                <a:lnTo>
                  <a:pt x="3541" y="3379"/>
                </a:lnTo>
                <a:lnTo>
                  <a:pt x="3535" y="3374"/>
                </a:lnTo>
                <a:lnTo>
                  <a:pt x="3530" y="3368"/>
                </a:lnTo>
                <a:lnTo>
                  <a:pt x="3522" y="3365"/>
                </a:lnTo>
                <a:lnTo>
                  <a:pt x="3512" y="3363"/>
                </a:lnTo>
                <a:lnTo>
                  <a:pt x="3503" y="3361"/>
                </a:lnTo>
                <a:lnTo>
                  <a:pt x="3491" y="3363"/>
                </a:lnTo>
                <a:lnTo>
                  <a:pt x="3477" y="3365"/>
                </a:lnTo>
                <a:lnTo>
                  <a:pt x="3463" y="3369"/>
                </a:lnTo>
                <a:lnTo>
                  <a:pt x="2685" y="3660"/>
                </a:lnTo>
                <a:lnTo>
                  <a:pt x="1893" y="3660"/>
                </a:lnTo>
                <a:lnTo>
                  <a:pt x="1889" y="3663"/>
                </a:lnTo>
                <a:lnTo>
                  <a:pt x="1647" y="3304"/>
                </a:lnTo>
                <a:lnTo>
                  <a:pt x="1714" y="3277"/>
                </a:lnTo>
                <a:lnTo>
                  <a:pt x="1750" y="3261"/>
                </a:lnTo>
                <a:lnTo>
                  <a:pt x="1789" y="3243"/>
                </a:lnTo>
                <a:lnTo>
                  <a:pt x="1827" y="3224"/>
                </a:lnTo>
                <a:lnTo>
                  <a:pt x="1866" y="3204"/>
                </a:lnTo>
                <a:lnTo>
                  <a:pt x="1902" y="3181"/>
                </a:lnTo>
                <a:lnTo>
                  <a:pt x="1938" y="3157"/>
                </a:lnTo>
                <a:lnTo>
                  <a:pt x="1956" y="3143"/>
                </a:lnTo>
                <a:lnTo>
                  <a:pt x="1972" y="3131"/>
                </a:lnTo>
                <a:lnTo>
                  <a:pt x="1987" y="3117"/>
                </a:lnTo>
                <a:lnTo>
                  <a:pt x="2002" y="3103"/>
                </a:lnTo>
                <a:lnTo>
                  <a:pt x="2015" y="3088"/>
                </a:lnTo>
                <a:lnTo>
                  <a:pt x="2029" y="3072"/>
                </a:lnTo>
                <a:lnTo>
                  <a:pt x="2039" y="3056"/>
                </a:lnTo>
                <a:lnTo>
                  <a:pt x="2050" y="3040"/>
                </a:lnTo>
                <a:lnTo>
                  <a:pt x="2058" y="3024"/>
                </a:lnTo>
                <a:lnTo>
                  <a:pt x="2066" y="3006"/>
                </a:lnTo>
                <a:lnTo>
                  <a:pt x="2072" y="2987"/>
                </a:lnTo>
                <a:lnTo>
                  <a:pt x="2077" y="2969"/>
                </a:lnTo>
                <a:lnTo>
                  <a:pt x="2080" y="2950"/>
                </a:lnTo>
                <a:lnTo>
                  <a:pt x="2080" y="2930"/>
                </a:lnTo>
                <a:lnTo>
                  <a:pt x="2080" y="2909"/>
                </a:lnTo>
                <a:lnTo>
                  <a:pt x="2076" y="2888"/>
                </a:lnTo>
                <a:lnTo>
                  <a:pt x="1699" y="3009"/>
                </a:lnTo>
                <a:lnTo>
                  <a:pt x="1664" y="3002"/>
                </a:lnTo>
                <a:lnTo>
                  <a:pt x="1630" y="2997"/>
                </a:lnTo>
                <a:lnTo>
                  <a:pt x="1597" y="2993"/>
                </a:lnTo>
                <a:lnTo>
                  <a:pt x="1564" y="2989"/>
                </a:lnTo>
                <a:lnTo>
                  <a:pt x="1532" y="2986"/>
                </a:lnTo>
                <a:lnTo>
                  <a:pt x="1501" y="2985"/>
                </a:lnTo>
                <a:lnTo>
                  <a:pt x="1470" y="2983"/>
                </a:lnTo>
                <a:lnTo>
                  <a:pt x="1439" y="2985"/>
                </a:lnTo>
                <a:lnTo>
                  <a:pt x="1410" y="2986"/>
                </a:lnTo>
                <a:lnTo>
                  <a:pt x="1382" y="2989"/>
                </a:lnTo>
                <a:lnTo>
                  <a:pt x="1353" y="2993"/>
                </a:lnTo>
                <a:lnTo>
                  <a:pt x="1325" y="2998"/>
                </a:lnTo>
                <a:lnTo>
                  <a:pt x="1298" y="3004"/>
                </a:lnTo>
                <a:lnTo>
                  <a:pt x="1271" y="3010"/>
                </a:lnTo>
                <a:lnTo>
                  <a:pt x="1244" y="3020"/>
                </a:lnTo>
                <a:lnTo>
                  <a:pt x="1219" y="3029"/>
                </a:lnTo>
                <a:lnTo>
                  <a:pt x="1195" y="3040"/>
                </a:lnTo>
                <a:lnTo>
                  <a:pt x="1169" y="3051"/>
                </a:lnTo>
                <a:lnTo>
                  <a:pt x="1145" y="3064"/>
                </a:lnTo>
                <a:lnTo>
                  <a:pt x="1121" y="3079"/>
                </a:lnTo>
                <a:lnTo>
                  <a:pt x="1098" y="3094"/>
                </a:lnTo>
                <a:lnTo>
                  <a:pt x="1075" y="3111"/>
                </a:lnTo>
                <a:lnTo>
                  <a:pt x="1052" y="3129"/>
                </a:lnTo>
                <a:lnTo>
                  <a:pt x="1029" y="3148"/>
                </a:lnTo>
                <a:lnTo>
                  <a:pt x="1008" y="3168"/>
                </a:lnTo>
                <a:lnTo>
                  <a:pt x="986" y="3191"/>
                </a:lnTo>
                <a:lnTo>
                  <a:pt x="965" y="3213"/>
                </a:lnTo>
                <a:lnTo>
                  <a:pt x="944" y="3238"/>
                </a:lnTo>
                <a:lnTo>
                  <a:pt x="923" y="3263"/>
                </a:lnTo>
                <a:lnTo>
                  <a:pt x="903" y="3290"/>
                </a:lnTo>
                <a:lnTo>
                  <a:pt x="882" y="3318"/>
                </a:lnTo>
                <a:lnTo>
                  <a:pt x="864" y="3348"/>
                </a:lnTo>
                <a:lnTo>
                  <a:pt x="861" y="3347"/>
                </a:lnTo>
                <a:lnTo>
                  <a:pt x="862" y="3009"/>
                </a:lnTo>
                <a:close/>
              </a:path>
            </a:pathLst>
          </a:custGeom>
          <a:solidFill>
            <a:srgbClr val="FFFFFF"/>
          </a:solidFill>
          <a:ln w="9525">
            <a:noFill/>
            <a:round/>
            <a:headEnd/>
            <a:tailEnd/>
          </a:ln>
        </p:spPr>
        <p:txBody>
          <a:bodyPr/>
          <a:lstStyle/>
          <a:p>
            <a:pPr defTabSz="1042367">
              <a:defRPr/>
            </a:pPr>
            <a:endParaRPr lang="de-DE" sz="1400" kern="0">
              <a:solidFill>
                <a:srgbClr val="000000"/>
              </a:solidFill>
              <a:latin typeface="Century Gothic" panose="020B0502020202020204" pitchFamily="34" charset="0"/>
            </a:endParaRPr>
          </a:p>
        </p:txBody>
      </p:sp>
      <p:sp>
        <p:nvSpPr>
          <p:cNvPr id="21" name="Freeform 9">
            <a:extLst>
              <a:ext uri="{FF2B5EF4-FFF2-40B4-BE49-F238E27FC236}">
                <a16:creationId xmlns:a16="http://schemas.microsoft.com/office/drawing/2014/main" id="{FAED3CA9-FD82-77DE-CC99-EBCE6D73306E}"/>
              </a:ext>
            </a:extLst>
          </p:cNvPr>
          <p:cNvSpPr>
            <a:spLocks noChangeAspect="1" noEditPoints="1"/>
          </p:cNvSpPr>
          <p:nvPr/>
        </p:nvSpPr>
        <p:spPr bwMode="auto">
          <a:xfrm>
            <a:off x="1200297" y="4162157"/>
            <a:ext cx="870930" cy="382445"/>
          </a:xfrm>
          <a:custGeom>
            <a:avLst/>
            <a:gdLst>
              <a:gd name="T0" fmla="*/ 2310 w 3402"/>
              <a:gd name="T1" fmla="*/ 5 h 1788"/>
              <a:gd name="T2" fmla="*/ 1458 w 3402"/>
              <a:gd name="T3" fmla="*/ 1413 h 1788"/>
              <a:gd name="T4" fmla="*/ 1396 w 3402"/>
              <a:gd name="T5" fmla="*/ 1567 h 1788"/>
              <a:gd name="T6" fmla="*/ 1428 w 3402"/>
              <a:gd name="T7" fmla="*/ 1686 h 1788"/>
              <a:gd name="T8" fmla="*/ 1521 w 3402"/>
              <a:gd name="T9" fmla="*/ 1769 h 1788"/>
              <a:gd name="T10" fmla="*/ 1612 w 3402"/>
              <a:gd name="T11" fmla="*/ 1788 h 1788"/>
              <a:gd name="T12" fmla="*/ 1595 w 3402"/>
              <a:gd name="T13" fmla="*/ 1724 h 1788"/>
              <a:gd name="T14" fmla="*/ 1521 w 3402"/>
              <a:gd name="T15" fmla="*/ 1695 h 1788"/>
              <a:gd name="T16" fmla="*/ 1469 w 3402"/>
              <a:gd name="T17" fmla="*/ 1627 h 1788"/>
              <a:gd name="T18" fmla="*/ 1463 w 3402"/>
              <a:gd name="T19" fmla="*/ 1541 h 1788"/>
              <a:gd name="T20" fmla="*/ 1498 w 3402"/>
              <a:gd name="T21" fmla="*/ 1473 h 1788"/>
              <a:gd name="T22" fmla="*/ 1572 w 3402"/>
              <a:gd name="T23" fmla="*/ 1428 h 1788"/>
              <a:gd name="T24" fmla="*/ 1659 w 3402"/>
              <a:gd name="T25" fmla="*/ 1431 h 1788"/>
              <a:gd name="T26" fmla="*/ 1723 w 3402"/>
              <a:gd name="T27" fmla="*/ 1472 h 1788"/>
              <a:gd name="T28" fmla="*/ 1760 w 3402"/>
              <a:gd name="T29" fmla="*/ 1550 h 1788"/>
              <a:gd name="T30" fmla="*/ 1748 w 3402"/>
              <a:gd name="T31" fmla="*/ 1636 h 1788"/>
              <a:gd name="T32" fmla="*/ 1771 w 3402"/>
              <a:gd name="T33" fmla="*/ 1716 h 1788"/>
              <a:gd name="T34" fmla="*/ 1833 w 3402"/>
              <a:gd name="T35" fmla="*/ 1584 h 1788"/>
              <a:gd name="T36" fmla="*/ 2343 w 3402"/>
              <a:gd name="T37" fmla="*/ 19 h 1788"/>
              <a:gd name="T38" fmla="*/ 3395 w 3402"/>
              <a:gd name="T39" fmla="*/ 1536 h 1788"/>
              <a:gd name="T40" fmla="*/ 3328 w 3402"/>
              <a:gd name="T41" fmla="*/ 1211 h 1788"/>
              <a:gd name="T42" fmla="*/ 3205 w 3402"/>
              <a:gd name="T43" fmla="*/ 913 h 1788"/>
              <a:gd name="T44" fmla="*/ 3028 w 3402"/>
              <a:gd name="T45" fmla="*/ 645 h 1788"/>
              <a:gd name="T46" fmla="*/ 2807 w 3402"/>
              <a:gd name="T47" fmla="*/ 418 h 1788"/>
              <a:gd name="T48" fmla="*/ 2546 w 3402"/>
              <a:gd name="T49" fmla="*/ 234 h 1788"/>
              <a:gd name="T50" fmla="*/ 2497 w 3402"/>
              <a:gd name="T51" fmla="*/ 343 h 1788"/>
              <a:gd name="T52" fmla="*/ 2727 w 3402"/>
              <a:gd name="T53" fmla="*/ 507 h 1788"/>
              <a:gd name="T54" fmla="*/ 2924 w 3402"/>
              <a:gd name="T55" fmla="*/ 707 h 1788"/>
              <a:gd name="T56" fmla="*/ 3083 w 3402"/>
              <a:gd name="T57" fmla="*/ 939 h 1788"/>
              <a:gd name="T58" fmla="*/ 3200 w 3402"/>
              <a:gd name="T59" fmla="*/ 1199 h 1788"/>
              <a:gd name="T60" fmla="*/ 3268 w 3402"/>
              <a:gd name="T61" fmla="*/ 1483 h 1788"/>
              <a:gd name="T62" fmla="*/ 2897 w 3402"/>
              <a:gd name="T63" fmla="*/ 1346 h 1788"/>
              <a:gd name="T64" fmla="*/ 2819 w 3402"/>
              <a:gd name="T65" fmla="*/ 1154 h 1788"/>
              <a:gd name="T66" fmla="*/ 2712 w 3402"/>
              <a:gd name="T67" fmla="*/ 980 h 1788"/>
              <a:gd name="T68" fmla="*/ 2580 w 3402"/>
              <a:gd name="T69" fmla="*/ 826 h 1788"/>
              <a:gd name="T70" fmla="*/ 2425 w 3402"/>
              <a:gd name="T71" fmla="*/ 694 h 1788"/>
              <a:gd name="T72" fmla="*/ 2271 w 3402"/>
              <a:gd name="T73" fmla="*/ 737 h 1788"/>
              <a:gd name="T74" fmla="*/ 2426 w 3402"/>
              <a:gd name="T75" fmla="*/ 845 h 1788"/>
              <a:gd name="T76" fmla="*/ 2560 w 3402"/>
              <a:gd name="T77" fmla="*/ 977 h 1788"/>
              <a:gd name="T78" fmla="*/ 2670 w 3402"/>
              <a:gd name="T79" fmla="*/ 1131 h 1788"/>
              <a:gd name="T80" fmla="*/ 2755 w 3402"/>
              <a:gd name="T81" fmla="*/ 1301 h 1788"/>
              <a:gd name="T82" fmla="*/ 2810 w 3402"/>
              <a:gd name="T83" fmla="*/ 1486 h 1788"/>
              <a:gd name="T84" fmla="*/ 1704 w 3402"/>
              <a:gd name="T85" fmla="*/ 577 h 1788"/>
              <a:gd name="T86" fmla="*/ 2100 w 3402"/>
              <a:gd name="T87" fmla="*/ 60 h 1788"/>
              <a:gd name="T88" fmla="*/ 1799 w 3402"/>
              <a:gd name="T89" fmla="*/ 14 h 1788"/>
              <a:gd name="T90" fmla="*/ 1641 w 3402"/>
              <a:gd name="T91" fmla="*/ 12 h 1788"/>
              <a:gd name="T92" fmla="*/ 1395 w 3402"/>
              <a:gd name="T93" fmla="*/ 37 h 1788"/>
              <a:gd name="T94" fmla="*/ 1161 w 3402"/>
              <a:gd name="T95" fmla="*/ 97 h 1788"/>
              <a:gd name="T96" fmla="*/ 941 w 3402"/>
              <a:gd name="T97" fmla="*/ 187 h 1788"/>
              <a:gd name="T98" fmla="*/ 737 w 3402"/>
              <a:gd name="T99" fmla="*/ 306 h 1788"/>
              <a:gd name="T100" fmla="*/ 554 w 3402"/>
              <a:gd name="T101" fmla="*/ 452 h 1788"/>
              <a:gd name="T102" fmla="*/ 391 w 3402"/>
              <a:gd name="T103" fmla="*/ 622 h 1788"/>
              <a:gd name="T104" fmla="*/ 254 w 3402"/>
              <a:gd name="T105" fmla="*/ 812 h 1788"/>
              <a:gd name="T106" fmla="*/ 143 w 3402"/>
              <a:gd name="T107" fmla="*/ 1021 h 1788"/>
              <a:gd name="T108" fmla="*/ 61 w 3402"/>
              <a:gd name="T109" fmla="*/ 1247 h 1788"/>
              <a:gd name="T110" fmla="*/ 12 w 3402"/>
              <a:gd name="T111" fmla="*/ 1485 h 1788"/>
              <a:gd name="T112" fmla="*/ 572 w 3402"/>
              <a:gd name="T113" fmla="*/ 1554 h 1788"/>
              <a:gd name="T114" fmla="*/ 659 w 3402"/>
              <a:gd name="T115" fmla="*/ 1251 h 1788"/>
              <a:gd name="T116" fmla="*/ 822 w 3402"/>
              <a:gd name="T117" fmla="*/ 989 h 1788"/>
              <a:gd name="T118" fmla="*/ 1048 w 3402"/>
              <a:gd name="T119" fmla="*/ 780 h 1788"/>
              <a:gd name="T120" fmla="*/ 1325 w 3402"/>
              <a:gd name="T121" fmla="*/ 640 h 1788"/>
              <a:gd name="T122" fmla="*/ 1638 w 3402"/>
              <a:gd name="T123" fmla="*/ 578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02" h="1788">
                <a:moveTo>
                  <a:pt x="2331" y="1"/>
                </a:moveTo>
                <a:lnTo>
                  <a:pt x="2331" y="1"/>
                </a:lnTo>
                <a:lnTo>
                  <a:pt x="2328" y="0"/>
                </a:lnTo>
                <a:lnTo>
                  <a:pt x="2324" y="0"/>
                </a:lnTo>
                <a:lnTo>
                  <a:pt x="2317" y="1"/>
                </a:lnTo>
                <a:lnTo>
                  <a:pt x="2310" y="5"/>
                </a:lnTo>
                <a:lnTo>
                  <a:pt x="2308" y="7"/>
                </a:lnTo>
                <a:lnTo>
                  <a:pt x="2306" y="9"/>
                </a:lnTo>
                <a:lnTo>
                  <a:pt x="2306" y="9"/>
                </a:lnTo>
                <a:lnTo>
                  <a:pt x="1866" y="736"/>
                </a:lnTo>
                <a:lnTo>
                  <a:pt x="1560" y="1242"/>
                </a:lnTo>
                <a:lnTo>
                  <a:pt x="1458" y="1413"/>
                </a:lnTo>
                <a:lnTo>
                  <a:pt x="1416" y="1485"/>
                </a:lnTo>
                <a:lnTo>
                  <a:pt x="1416" y="1485"/>
                </a:lnTo>
                <a:lnTo>
                  <a:pt x="1408" y="1505"/>
                </a:lnTo>
                <a:lnTo>
                  <a:pt x="1401" y="1525"/>
                </a:lnTo>
                <a:lnTo>
                  <a:pt x="1397" y="1546"/>
                </a:lnTo>
                <a:lnTo>
                  <a:pt x="1396" y="1567"/>
                </a:lnTo>
                <a:lnTo>
                  <a:pt x="1396" y="1588"/>
                </a:lnTo>
                <a:lnTo>
                  <a:pt x="1399" y="1609"/>
                </a:lnTo>
                <a:lnTo>
                  <a:pt x="1403" y="1630"/>
                </a:lnTo>
                <a:lnTo>
                  <a:pt x="1409" y="1649"/>
                </a:lnTo>
                <a:lnTo>
                  <a:pt x="1417" y="1668"/>
                </a:lnTo>
                <a:lnTo>
                  <a:pt x="1428" y="1686"/>
                </a:lnTo>
                <a:lnTo>
                  <a:pt x="1439" y="1702"/>
                </a:lnTo>
                <a:lnTo>
                  <a:pt x="1452" y="1719"/>
                </a:lnTo>
                <a:lnTo>
                  <a:pt x="1467" y="1734"/>
                </a:lnTo>
                <a:lnTo>
                  <a:pt x="1484" y="1748"/>
                </a:lnTo>
                <a:lnTo>
                  <a:pt x="1501" y="1759"/>
                </a:lnTo>
                <a:lnTo>
                  <a:pt x="1521" y="1769"/>
                </a:lnTo>
                <a:lnTo>
                  <a:pt x="1521" y="1769"/>
                </a:lnTo>
                <a:lnTo>
                  <a:pt x="1539" y="1776"/>
                </a:lnTo>
                <a:lnTo>
                  <a:pt x="1557" y="1782"/>
                </a:lnTo>
                <a:lnTo>
                  <a:pt x="1575" y="1786"/>
                </a:lnTo>
                <a:lnTo>
                  <a:pt x="1594" y="1788"/>
                </a:lnTo>
                <a:lnTo>
                  <a:pt x="1612" y="1788"/>
                </a:lnTo>
                <a:lnTo>
                  <a:pt x="1629" y="1788"/>
                </a:lnTo>
                <a:lnTo>
                  <a:pt x="1648" y="1786"/>
                </a:lnTo>
                <a:lnTo>
                  <a:pt x="1665" y="1781"/>
                </a:lnTo>
                <a:lnTo>
                  <a:pt x="1610" y="1724"/>
                </a:lnTo>
                <a:lnTo>
                  <a:pt x="1610" y="1724"/>
                </a:lnTo>
                <a:lnTo>
                  <a:pt x="1595" y="1724"/>
                </a:lnTo>
                <a:lnTo>
                  <a:pt x="1579" y="1722"/>
                </a:lnTo>
                <a:lnTo>
                  <a:pt x="1564" y="1717"/>
                </a:lnTo>
                <a:lnTo>
                  <a:pt x="1548" y="1712"/>
                </a:lnTo>
                <a:lnTo>
                  <a:pt x="1548" y="1712"/>
                </a:lnTo>
                <a:lnTo>
                  <a:pt x="1534" y="1705"/>
                </a:lnTo>
                <a:lnTo>
                  <a:pt x="1521" y="1695"/>
                </a:lnTo>
                <a:lnTo>
                  <a:pt x="1509" y="1686"/>
                </a:lnTo>
                <a:lnTo>
                  <a:pt x="1499" y="1676"/>
                </a:lnTo>
                <a:lnTo>
                  <a:pt x="1490" y="1665"/>
                </a:lnTo>
                <a:lnTo>
                  <a:pt x="1482" y="1653"/>
                </a:lnTo>
                <a:lnTo>
                  <a:pt x="1475" y="1640"/>
                </a:lnTo>
                <a:lnTo>
                  <a:pt x="1469" y="1627"/>
                </a:lnTo>
                <a:lnTo>
                  <a:pt x="1464" y="1613"/>
                </a:lnTo>
                <a:lnTo>
                  <a:pt x="1461" y="1598"/>
                </a:lnTo>
                <a:lnTo>
                  <a:pt x="1460" y="1584"/>
                </a:lnTo>
                <a:lnTo>
                  <a:pt x="1460" y="1569"/>
                </a:lnTo>
                <a:lnTo>
                  <a:pt x="1461" y="1554"/>
                </a:lnTo>
                <a:lnTo>
                  <a:pt x="1463" y="1541"/>
                </a:lnTo>
                <a:lnTo>
                  <a:pt x="1468" y="1525"/>
                </a:lnTo>
                <a:lnTo>
                  <a:pt x="1474" y="1512"/>
                </a:lnTo>
                <a:lnTo>
                  <a:pt x="1474" y="1512"/>
                </a:lnTo>
                <a:lnTo>
                  <a:pt x="1481" y="1498"/>
                </a:lnTo>
                <a:lnTo>
                  <a:pt x="1489" y="1485"/>
                </a:lnTo>
                <a:lnTo>
                  <a:pt x="1498" y="1473"/>
                </a:lnTo>
                <a:lnTo>
                  <a:pt x="1508" y="1463"/>
                </a:lnTo>
                <a:lnTo>
                  <a:pt x="1520" y="1453"/>
                </a:lnTo>
                <a:lnTo>
                  <a:pt x="1533" y="1445"/>
                </a:lnTo>
                <a:lnTo>
                  <a:pt x="1545" y="1438"/>
                </a:lnTo>
                <a:lnTo>
                  <a:pt x="1558" y="1432"/>
                </a:lnTo>
                <a:lnTo>
                  <a:pt x="1572" y="1428"/>
                </a:lnTo>
                <a:lnTo>
                  <a:pt x="1587" y="1425"/>
                </a:lnTo>
                <a:lnTo>
                  <a:pt x="1601" y="1424"/>
                </a:lnTo>
                <a:lnTo>
                  <a:pt x="1616" y="1423"/>
                </a:lnTo>
                <a:lnTo>
                  <a:pt x="1631" y="1424"/>
                </a:lnTo>
                <a:lnTo>
                  <a:pt x="1646" y="1427"/>
                </a:lnTo>
                <a:lnTo>
                  <a:pt x="1659" y="1431"/>
                </a:lnTo>
                <a:lnTo>
                  <a:pt x="1674" y="1436"/>
                </a:lnTo>
                <a:lnTo>
                  <a:pt x="1674" y="1436"/>
                </a:lnTo>
                <a:lnTo>
                  <a:pt x="1688" y="1443"/>
                </a:lnTo>
                <a:lnTo>
                  <a:pt x="1701" y="1453"/>
                </a:lnTo>
                <a:lnTo>
                  <a:pt x="1713" y="1462"/>
                </a:lnTo>
                <a:lnTo>
                  <a:pt x="1723" y="1472"/>
                </a:lnTo>
                <a:lnTo>
                  <a:pt x="1732" y="1483"/>
                </a:lnTo>
                <a:lnTo>
                  <a:pt x="1740" y="1495"/>
                </a:lnTo>
                <a:lnTo>
                  <a:pt x="1747" y="1508"/>
                </a:lnTo>
                <a:lnTo>
                  <a:pt x="1753" y="1521"/>
                </a:lnTo>
                <a:lnTo>
                  <a:pt x="1758" y="1535"/>
                </a:lnTo>
                <a:lnTo>
                  <a:pt x="1760" y="1550"/>
                </a:lnTo>
                <a:lnTo>
                  <a:pt x="1762" y="1564"/>
                </a:lnTo>
                <a:lnTo>
                  <a:pt x="1762" y="1579"/>
                </a:lnTo>
                <a:lnTo>
                  <a:pt x="1761" y="1594"/>
                </a:lnTo>
                <a:lnTo>
                  <a:pt x="1759" y="1608"/>
                </a:lnTo>
                <a:lnTo>
                  <a:pt x="1754" y="1623"/>
                </a:lnTo>
                <a:lnTo>
                  <a:pt x="1748" y="1636"/>
                </a:lnTo>
                <a:lnTo>
                  <a:pt x="1748" y="1636"/>
                </a:lnTo>
                <a:lnTo>
                  <a:pt x="1744" y="1646"/>
                </a:lnTo>
                <a:lnTo>
                  <a:pt x="1738" y="1655"/>
                </a:lnTo>
                <a:lnTo>
                  <a:pt x="1726" y="1671"/>
                </a:lnTo>
                <a:lnTo>
                  <a:pt x="1771" y="1716"/>
                </a:lnTo>
                <a:lnTo>
                  <a:pt x="1771" y="1716"/>
                </a:lnTo>
                <a:lnTo>
                  <a:pt x="1782" y="1705"/>
                </a:lnTo>
                <a:lnTo>
                  <a:pt x="1791" y="1692"/>
                </a:lnTo>
                <a:lnTo>
                  <a:pt x="1799" y="1678"/>
                </a:lnTo>
                <a:lnTo>
                  <a:pt x="1806" y="1663"/>
                </a:lnTo>
                <a:lnTo>
                  <a:pt x="1806" y="1663"/>
                </a:lnTo>
                <a:lnTo>
                  <a:pt x="1833" y="1584"/>
                </a:lnTo>
                <a:lnTo>
                  <a:pt x="1896" y="1395"/>
                </a:lnTo>
                <a:lnTo>
                  <a:pt x="2080" y="834"/>
                </a:lnTo>
                <a:lnTo>
                  <a:pt x="2341" y="27"/>
                </a:lnTo>
                <a:lnTo>
                  <a:pt x="2341" y="27"/>
                </a:lnTo>
                <a:lnTo>
                  <a:pt x="2343" y="22"/>
                </a:lnTo>
                <a:lnTo>
                  <a:pt x="2343" y="19"/>
                </a:lnTo>
                <a:lnTo>
                  <a:pt x="2341" y="12"/>
                </a:lnTo>
                <a:lnTo>
                  <a:pt x="2337" y="6"/>
                </a:lnTo>
                <a:lnTo>
                  <a:pt x="2335" y="3"/>
                </a:lnTo>
                <a:lnTo>
                  <a:pt x="2331" y="1"/>
                </a:lnTo>
                <a:close/>
                <a:moveTo>
                  <a:pt x="3395" y="1536"/>
                </a:moveTo>
                <a:lnTo>
                  <a:pt x="3395" y="1536"/>
                </a:lnTo>
                <a:lnTo>
                  <a:pt x="3388" y="1480"/>
                </a:lnTo>
                <a:lnTo>
                  <a:pt x="3380" y="1425"/>
                </a:lnTo>
                <a:lnTo>
                  <a:pt x="3370" y="1370"/>
                </a:lnTo>
                <a:lnTo>
                  <a:pt x="3357" y="1317"/>
                </a:lnTo>
                <a:lnTo>
                  <a:pt x="3344" y="1264"/>
                </a:lnTo>
                <a:lnTo>
                  <a:pt x="3328" y="1211"/>
                </a:lnTo>
                <a:lnTo>
                  <a:pt x="3312" y="1160"/>
                </a:lnTo>
                <a:lnTo>
                  <a:pt x="3294" y="1108"/>
                </a:lnTo>
                <a:lnTo>
                  <a:pt x="3273" y="1058"/>
                </a:lnTo>
                <a:lnTo>
                  <a:pt x="3252" y="1008"/>
                </a:lnTo>
                <a:lnTo>
                  <a:pt x="3229" y="960"/>
                </a:lnTo>
                <a:lnTo>
                  <a:pt x="3205" y="913"/>
                </a:lnTo>
                <a:lnTo>
                  <a:pt x="3178" y="866"/>
                </a:lnTo>
                <a:lnTo>
                  <a:pt x="3150" y="820"/>
                </a:lnTo>
                <a:lnTo>
                  <a:pt x="3122" y="775"/>
                </a:lnTo>
                <a:lnTo>
                  <a:pt x="3092" y="731"/>
                </a:lnTo>
                <a:lnTo>
                  <a:pt x="3060" y="688"/>
                </a:lnTo>
                <a:lnTo>
                  <a:pt x="3028" y="645"/>
                </a:lnTo>
                <a:lnTo>
                  <a:pt x="2993" y="605"/>
                </a:lnTo>
                <a:lnTo>
                  <a:pt x="2959" y="566"/>
                </a:lnTo>
                <a:lnTo>
                  <a:pt x="2922" y="526"/>
                </a:lnTo>
                <a:lnTo>
                  <a:pt x="2885" y="489"/>
                </a:lnTo>
                <a:lnTo>
                  <a:pt x="2846" y="452"/>
                </a:lnTo>
                <a:lnTo>
                  <a:pt x="2807" y="418"/>
                </a:lnTo>
                <a:lnTo>
                  <a:pt x="2765" y="384"/>
                </a:lnTo>
                <a:lnTo>
                  <a:pt x="2723" y="350"/>
                </a:lnTo>
                <a:lnTo>
                  <a:pt x="2681" y="319"/>
                </a:lnTo>
                <a:lnTo>
                  <a:pt x="2637" y="289"/>
                </a:lnTo>
                <a:lnTo>
                  <a:pt x="2592" y="261"/>
                </a:lnTo>
                <a:lnTo>
                  <a:pt x="2546" y="234"/>
                </a:lnTo>
                <a:lnTo>
                  <a:pt x="2498" y="208"/>
                </a:lnTo>
                <a:lnTo>
                  <a:pt x="2451" y="183"/>
                </a:lnTo>
                <a:lnTo>
                  <a:pt x="2414" y="298"/>
                </a:lnTo>
                <a:lnTo>
                  <a:pt x="2414" y="298"/>
                </a:lnTo>
                <a:lnTo>
                  <a:pt x="2456" y="320"/>
                </a:lnTo>
                <a:lnTo>
                  <a:pt x="2497" y="343"/>
                </a:lnTo>
                <a:lnTo>
                  <a:pt x="2538" y="368"/>
                </a:lnTo>
                <a:lnTo>
                  <a:pt x="2577" y="393"/>
                </a:lnTo>
                <a:lnTo>
                  <a:pt x="2616" y="420"/>
                </a:lnTo>
                <a:lnTo>
                  <a:pt x="2653" y="448"/>
                </a:lnTo>
                <a:lnTo>
                  <a:pt x="2690" y="476"/>
                </a:lnTo>
                <a:lnTo>
                  <a:pt x="2727" y="507"/>
                </a:lnTo>
                <a:lnTo>
                  <a:pt x="2762" y="537"/>
                </a:lnTo>
                <a:lnTo>
                  <a:pt x="2796" y="569"/>
                </a:lnTo>
                <a:lnTo>
                  <a:pt x="2830" y="603"/>
                </a:lnTo>
                <a:lnTo>
                  <a:pt x="2862" y="636"/>
                </a:lnTo>
                <a:lnTo>
                  <a:pt x="2893" y="671"/>
                </a:lnTo>
                <a:lnTo>
                  <a:pt x="2924" y="707"/>
                </a:lnTo>
                <a:lnTo>
                  <a:pt x="2953" y="744"/>
                </a:lnTo>
                <a:lnTo>
                  <a:pt x="2981" y="781"/>
                </a:lnTo>
                <a:lnTo>
                  <a:pt x="3008" y="819"/>
                </a:lnTo>
                <a:lnTo>
                  <a:pt x="3034" y="858"/>
                </a:lnTo>
                <a:lnTo>
                  <a:pt x="3059" y="899"/>
                </a:lnTo>
                <a:lnTo>
                  <a:pt x="3083" y="939"/>
                </a:lnTo>
                <a:lnTo>
                  <a:pt x="3105" y="981"/>
                </a:lnTo>
                <a:lnTo>
                  <a:pt x="3127" y="1024"/>
                </a:lnTo>
                <a:lnTo>
                  <a:pt x="3147" y="1066"/>
                </a:lnTo>
                <a:lnTo>
                  <a:pt x="3165" y="1110"/>
                </a:lnTo>
                <a:lnTo>
                  <a:pt x="3183" y="1154"/>
                </a:lnTo>
                <a:lnTo>
                  <a:pt x="3200" y="1199"/>
                </a:lnTo>
                <a:lnTo>
                  <a:pt x="3214" y="1246"/>
                </a:lnTo>
                <a:lnTo>
                  <a:pt x="3228" y="1292"/>
                </a:lnTo>
                <a:lnTo>
                  <a:pt x="3240" y="1338"/>
                </a:lnTo>
                <a:lnTo>
                  <a:pt x="3251" y="1386"/>
                </a:lnTo>
                <a:lnTo>
                  <a:pt x="3260" y="1434"/>
                </a:lnTo>
                <a:lnTo>
                  <a:pt x="3268" y="1483"/>
                </a:lnTo>
                <a:lnTo>
                  <a:pt x="2930" y="1483"/>
                </a:lnTo>
                <a:lnTo>
                  <a:pt x="2930" y="1483"/>
                </a:lnTo>
                <a:lnTo>
                  <a:pt x="2923" y="1448"/>
                </a:lnTo>
                <a:lnTo>
                  <a:pt x="2915" y="1413"/>
                </a:lnTo>
                <a:lnTo>
                  <a:pt x="2906" y="1380"/>
                </a:lnTo>
                <a:lnTo>
                  <a:pt x="2897" y="1346"/>
                </a:lnTo>
                <a:lnTo>
                  <a:pt x="2885" y="1313"/>
                </a:lnTo>
                <a:lnTo>
                  <a:pt x="2873" y="1280"/>
                </a:lnTo>
                <a:lnTo>
                  <a:pt x="2862" y="1248"/>
                </a:lnTo>
                <a:lnTo>
                  <a:pt x="2848" y="1217"/>
                </a:lnTo>
                <a:lnTo>
                  <a:pt x="2834" y="1185"/>
                </a:lnTo>
                <a:lnTo>
                  <a:pt x="2819" y="1154"/>
                </a:lnTo>
                <a:lnTo>
                  <a:pt x="2803" y="1124"/>
                </a:lnTo>
                <a:lnTo>
                  <a:pt x="2787" y="1094"/>
                </a:lnTo>
                <a:lnTo>
                  <a:pt x="2770" y="1064"/>
                </a:lnTo>
                <a:lnTo>
                  <a:pt x="2751" y="1035"/>
                </a:lnTo>
                <a:lnTo>
                  <a:pt x="2733" y="1007"/>
                </a:lnTo>
                <a:lnTo>
                  <a:pt x="2712" y="980"/>
                </a:lnTo>
                <a:lnTo>
                  <a:pt x="2692" y="952"/>
                </a:lnTo>
                <a:lnTo>
                  <a:pt x="2672" y="925"/>
                </a:lnTo>
                <a:lnTo>
                  <a:pt x="2650" y="900"/>
                </a:lnTo>
                <a:lnTo>
                  <a:pt x="2627" y="874"/>
                </a:lnTo>
                <a:lnTo>
                  <a:pt x="2603" y="849"/>
                </a:lnTo>
                <a:lnTo>
                  <a:pt x="2580" y="826"/>
                </a:lnTo>
                <a:lnTo>
                  <a:pt x="2555" y="801"/>
                </a:lnTo>
                <a:lnTo>
                  <a:pt x="2531" y="778"/>
                </a:lnTo>
                <a:lnTo>
                  <a:pt x="2504" y="756"/>
                </a:lnTo>
                <a:lnTo>
                  <a:pt x="2479" y="736"/>
                </a:lnTo>
                <a:lnTo>
                  <a:pt x="2451" y="715"/>
                </a:lnTo>
                <a:lnTo>
                  <a:pt x="2425" y="694"/>
                </a:lnTo>
                <a:lnTo>
                  <a:pt x="2396" y="675"/>
                </a:lnTo>
                <a:lnTo>
                  <a:pt x="2368" y="656"/>
                </a:lnTo>
                <a:lnTo>
                  <a:pt x="2339" y="638"/>
                </a:lnTo>
                <a:lnTo>
                  <a:pt x="2309" y="621"/>
                </a:lnTo>
                <a:lnTo>
                  <a:pt x="2271" y="737"/>
                </a:lnTo>
                <a:lnTo>
                  <a:pt x="2271" y="737"/>
                </a:lnTo>
                <a:lnTo>
                  <a:pt x="2299" y="753"/>
                </a:lnTo>
                <a:lnTo>
                  <a:pt x="2325" y="770"/>
                </a:lnTo>
                <a:lnTo>
                  <a:pt x="2351" y="789"/>
                </a:lnTo>
                <a:lnTo>
                  <a:pt x="2376" y="807"/>
                </a:lnTo>
                <a:lnTo>
                  <a:pt x="2401" y="826"/>
                </a:lnTo>
                <a:lnTo>
                  <a:pt x="2426" y="845"/>
                </a:lnTo>
                <a:lnTo>
                  <a:pt x="2450" y="866"/>
                </a:lnTo>
                <a:lnTo>
                  <a:pt x="2473" y="887"/>
                </a:lnTo>
                <a:lnTo>
                  <a:pt x="2495" y="909"/>
                </a:lnTo>
                <a:lnTo>
                  <a:pt x="2517" y="931"/>
                </a:lnTo>
                <a:lnTo>
                  <a:pt x="2539" y="954"/>
                </a:lnTo>
                <a:lnTo>
                  <a:pt x="2560" y="977"/>
                </a:lnTo>
                <a:lnTo>
                  <a:pt x="2579" y="1002"/>
                </a:lnTo>
                <a:lnTo>
                  <a:pt x="2599" y="1027"/>
                </a:lnTo>
                <a:lnTo>
                  <a:pt x="2617" y="1051"/>
                </a:lnTo>
                <a:lnTo>
                  <a:pt x="2636" y="1078"/>
                </a:lnTo>
                <a:lnTo>
                  <a:pt x="2653" y="1103"/>
                </a:lnTo>
                <a:lnTo>
                  <a:pt x="2670" y="1131"/>
                </a:lnTo>
                <a:lnTo>
                  <a:pt x="2685" y="1158"/>
                </a:lnTo>
                <a:lnTo>
                  <a:pt x="2702" y="1185"/>
                </a:lnTo>
                <a:lnTo>
                  <a:pt x="2715" y="1213"/>
                </a:lnTo>
                <a:lnTo>
                  <a:pt x="2729" y="1242"/>
                </a:lnTo>
                <a:lnTo>
                  <a:pt x="2742" y="1271"/>
                </a:lnTo>
                <a:lnTo>
                  <a:pt x="2755" y="1301"/>
                </a:lnTo>
                <a:lnTo>
                  <a:pt x="2765" y="1331"/>
                </a:lnTo>
                <a:lnTo>
                  <a:pt x="2777" y="1361"/>
                </a:lnTo>
                <a:lnTo>
                  <a:pt x="2786" y="1391"/>
                </a:lnTo>
                <a:lnTo>
                  <a:pt x="2795" y="1423"/>
                </a:lnTo>
                <a:lnTo>
                  <a:pt x="2802" y="1454"/>
                </a:lnTo>
                <a:lnTo>
                  <a:pt x="2810" y="1486"/>
                </a:lnTo>
                <a:lnTo>
                  <a:pt x="2816" y="1519"/>
                </a:lnTo>
                <a:lnTo>
                  <a:pt x="2820" y="1551"/>
                </a:lnTo>
                <a:lnTo>
                  <a:pt x="2828" y="1602"/>
                </a:lnTo>
                <a:lnTo>
                  <a:pt x="3402" y="1602"/>
                </a:lnTo>
                <a:lnTo>
                  <a:pt x="3395" y="1536"/>
                </a:lnTo>
                <a:close/>
                <a:moveTo>
                  <a:pt x="1704" y="577"/>
                </a:moveTo>
                <a:lnTo>
                  <a:pt x="1706" y="577"/>
                </a:lnTo>
                <a:lnTo>
                  <a:pt x="1706" y="577"/>
                </a:lnTo>
                <a:lnTo>
                  <a:pt x="1745" y="578"/>
                </a:lnTo>
                <a:lnTo>
                  <a:pt x="1785" y="582"/>
                </a:lnTo>
                <a:lnTo>
                  <a:pt x="2100" y="60"/>
                </a:lnTo>
                <a:lnTo>
                  <a:pt x="2100" y="60"/>
                </a:lnTo>
                <a:lnTo>
                  <a:pt x="2052" y="49"/>
                </a:lnTo>
                <a:lnTo>
                  <a:pt x="2002" y="38"/>
                </a:lnTo>
                <a:lnTo>
                  <a:pt x="1951" y="30"/>
                </a:lnTo>
                <a:lnTo>
                  <a:pt x="1901" y="23"/>
                </a:lnTo>
                <a:lnTo>
                  <a:pt x="1850" y="17"/>
                </a:lnTo>
                <a:lnTo>
                  <a:pt x="1799" y="14"/>
                </a:lnTo>
                <a:lnTo>
                  <a:pt x="1747" y="12"/>
                </a:lnTo>
                <a:lnTo>
                  <a:pt x="1694" y="10"/>
                </a:lnTo>
                <a:lnTo>
                  <a:pt x="1694" y="10"/>
                </a:lnTo>
                <a:lnTo>
                  <a:pt x="1684" y="10"/>
                </a:lnTo>
                <a:lnTo>
                  <a:pt x="1684" y="10"/>
                </a:lnTo>
                <a:lnTo>
                  <a:pt x="1641" y="12"/>
                </a:lnTo>
                <a:lnTo>
                  <a:pt x="1599" y="14"/>
                </a:lnTo>
                <a:lnTo>
                  <a:pt x="1558" y="16"/>
                </a:lnTo>
                <a:lnTo>
                  <a:pt x="1518" y="20"/>
                </a:lnTo>
                <a:lnTo>
                  <a:pt x="1476" y="24"/>
                </a:lnTo>
                <a:lnTo>
                  <a:pt x="1436" y="30"/>
                </a:lnTo>
                <a:lnTo>
                  <a:pt x="1395" y="37"/>
                </a:lnTo>
                <a:lnTo>
                  <a:pt x="1356" y="45"/>
                </a:lnTo>
                <a:lnTo>
                  <a:pt x="1316" y="53"/>
                </a:lnTo>
                <a:lnTo>
                  <a:pt x="1276" y="62"/>
                </a:lnTo>
                <a:lnTo>
                  <a:pt x="1237" y="73"/>
                </a:lnTo>
                <a:lnTo>
                  <a:pt x="1199" y="84"/>
                </a:lnTo>
                <a:lnTo>
                  <a:pt x="1161" y="97"/>
                </a:lnTo>
                <a:lnTo>
                  <a:pt x="1123" y="110"/>
                </a:lnTo>
                <a:lnTo>
                  <a:pt x="1086" y="124"/>
                </a:lnTo>
                <a:lnTo>
                  <a:pt x="1049" y="138"/>
                </a:lnTo>
                <a:lnTo>
                  <a:pt x="1012" y="154"/>
                </a:lnTo>
                <a:lnTo>
                  <a:pt x="976" y="170"/>
                </a:lnTo>
                <a:lnTo>
                  <a:pt x="941" y="187"/>
                </a:lnTo>
                <a:lnTo>
                  <a:pt x="906" y="205"/>
                </a:lnTo>
                <a:lnTo>
                  <a:pt x="871" y="224"/>
                </a:lnTo>
                <a:lnTo>
                  <a:pt x="837" y="244"/>
                </a:lnTo>
                <a:lnTo>
                  <a:pt x="803" y="264"/>
                </a:lnTo>
                <a:lnTo>
                  <a:pt x="770" y="285"/>
                </a:lnTo>
                <a:lnTo>
                  <a:pt x="737" y="306"/>
                </a:lnTo>
                <a:lnTo>
                  <a:pt x="705" y="330"/>
                </a:lnTo>
                <a:lnTo>
                  <a:pt x="674" y="353"/>
                </a:lnTo>
                <a:lnTo>
                  <a:pt x="643" y="377"/>
                </a:lnTo>
                <a:lnTo>
                  <a:pt x="613" y="401"/>
                </a:lnTo>
                <a:lnTo>
                  <a:pt x="583" y="427"/>
                </a:lnTo>
                <a:lnTo>
                  <a:pt x="554" y="452"/>
                </a:lnTo>
                <a:lnTo>
                  <a:pt x="525" y="479"/>
                </a:lnTo>
                <a:lnTo>
                  <a:pt x="496" y="507"/>
                </a:lnTo>
                <a:lnTo>
                  <a:pt x="470" y="534"/>
                </a:lnTo>
                <a:lnTo>
                  <a:pt x="443" y="563"/>
                </a:lnTo>
                <a:lnTo>
                  <a:pt x="417" y="592"/>
                </a:lnTo>
                <a:lnTo>
                  <a:pt x="391" y="622"/>
                </a:lnTo>
                <a:lnTo>
                  <a:pt x="367" y="652"/>
                </a:lnTo>
                <a:lnTo>
                  <a:pt x="343" y="684"/>
                </a:lnTo>
                <a:lnTo>
                  <a:pt x="320" y="715"/>
                </a:lnTo>
                <a:lnTo>
                  <a:pt x="297" y="747"/>
                </a:lnTo>
                <a:lnTo>
                  <a:pt x="275" y="780"/>
                </a:lnTo>
                <a:lnTo>
                  <a:pt x="254" y="812"/>
                </a:lnTo>
                <a:lnTo>
                  <a:pt x="233" y="845"/>
                </a:lnTo>
                <a:lnTo>
                  <a:pt x="213" y="880"/>
                </a:lnTo>
                <a:lnTo>
                  <a:pt x="195" y="915"/>
                </a:lnTo>
                <a:lnTo>
                  <a:pt x="177" y="950"/>
                </a:lnTo>
                <a:lnTo>
                  <a:pt x="159" y="985"/>
                </a:lnTo>
                <a:lnTo>
                  <a:pt x="143" y="1021"/>
                </a:lnTo>
                <a:lnTo>
                  <a:pt x="127" y="1058"/>
                </a:lnTo>
                <a:lnTo>
                  <a:pt x="112" y="1095"/>
                </a:lnTo>
                <a:lnTo>
                  <a:pt x="98" y="1132"/>
                </a:lnTo>
                <a:lnTo>
                  <a:pt x="85" y="1170"/>
                </a:lnTo>
                <a:lnTo>
                  <a:pt x="73" y="1207"/>
                </a:lnTo>
                <a:lnTo>
                  <a:pt x="61" y="1247"/>
                </a:lnTo>
                <a:lnTo>
                  <a:pt x="51" y="1285"/>
                </a:lnTo>
                <a:lnTo>
                  <a:pt x="42" y="1324"/>
                </a:lnTo>
                <a:lnTo>
                  <a:pt x="32" y="1365"/>
                </a:lnTo>
                <a:lnTo>
                  <a:pt x="24" y="1404"/>
                </a:lnTo>
                <a:lnTo>
                  <a:pt x="17" y="1445"/>
                </a:lnTo>
                <a:lnTo>
                  <a:pt x="12" y="1485"/>
                </a:lnTo>
                <a:lnTo>
                  <a:pt x="7" y="1525"/>
                </a:lnTo>
                <a:lnTo>
                  <a:pt x="2" y="1567"/>
                </a:lnTo>
                <a:lnTo>
                  <a:pt x="0" y="1609"/>
                </a:lnTo>
                <a:lnTo>
                  <a:pt x="567" y="1609"/>
                </a:lnTo>
                <a:lnTo>
                  <a:pt x="567" y="1609"/>
                </a:lnTo>
                <a:lnTo>
                  <a:pt x="572" y="1554"/>
                </a:lnTo>
                <a:lnTo>
                  <a:pt x="582" y="1502"/>
                </a:lnTo>
                <a:lnTo>
                  <a:pt x="592" y="1450"/>
                </a:lnTo>
                <a:lnTo>
                  <a:pt x="606" y="1398"/>
                </a:lnTo>
                <a:lnTo>
                  <a:pt x="621" y="1349"/>
                </a:lnTo>
                <a:lnTo>
                  <a:pt x="639" y="1299"/>
                </a:lnTo>
                <a:lnTo>
                  <a:pt x="659" y="1251"/>
                </a:lnTo>
                <a:lnTo>
                  <a:pt x="682" y="1204"/>
                </a:lnTo>
                <a:lnTo>
                  <a:pt x="706" y="1158"/>
                </a:lnTo>
                <a:lnTo>
                  <a:pt x="732" y="1114"/>
                </a:lnTo>
                <a:lnTo>
                  <a:pt x="760" y="1071"/>
                </a:lnTo>
                <a:lnTo>
                  <a:pt x="790" y="1028"/>
                </a:lnTo>
                <a:lnTo>
                  <a:pt x="822" y="989"/>
                </a:lnTo>
                <a:lnTo>
                  <a:pt x="856" y="950"/>
                </a:lnTo>
                <a:lnTo>
                  <a:pt x="891" y="913"/>
                </a:lnTo>
                <a:lnTo>
                  <a:pt x="928" y="877"/>
                </a:lnTo>
                <a:lnTo>
                  <a:pt x="967" y="843"/>
                </a:lnTo>
                <a:lnTo>
                  <a:pt x="1006" y="811"/>
                </a:lnTo>
                <a:lnTo>
                  <a:pt x="1048" y="780"/>
                </a:lnTo>
                <a:lnTo>
                  <a:pt x="1091" y="752"/>
                </a:lnTo>
                <a:lnTo>
                  <a:pt x="1136" y="725"/>
                </a:lnTo>
                <a:lnTo>
                  <a:pt x="1181" y="701"/>
                </a:lnTo>
                <a:lnTo>
                  <a:pt x="1228" y="678"/>
                </a:lnTo>
                <a:lnTo>
                  <a:pt x="1275" y="657"/>
                </a:lnTo>
                <a:lnTo>
                  <a:pt x="1325" y="640"/>
                </a:lnTo>
                <a:lnTo>
                  <a:pt x="1374" y="623"/>
                </a:lnTo>
                <a:lnTo>
                  <a:pt x="1425" y="609"/>
                </a:lnTo>
                <a:lnTo>
                  <a:pt x="1477" y="598"/>
                </a:lnTo>
                <a:lnTo>
                  <a:pt x="1530" y="589"/>
                </a:lnTo>
                <a:lnTo>
                  <a:pt x="1583" y="583"/>
                </a:lnTo>
                <a:lnTo>
                  <a:pt x="1638" y="578"/>
                </a:lnTo>
                <a:lnTo>
                  <a:pt x="1693" y="577"/>
                </a:lnTo>
                <a:lnTo>
                  <a:pt x="1704" y="577"/>
                </a:lnTo>
                <a:close/>
              </a:path>
            </a:pathLst>
          </a:custGeom>
          <a:solidFill>
            <a:sysClr val="window" lastClr="FFFFFF"/>
          </a:solidFill>
          <a:ln>
            <a:noFill/>
          </a:ln>
        </p:spPr>
        <p:txBody>
          <a:bodyPr vert="horz" wrap="square" lIns="91392" tIns="45696" rIns="91392" bIns="45696" numCol="1" anchor="t" anchorCtr="0" compatLnSpc="1">
            <a:prstTxWarp prst="textNoShape">
              <a:avLst/>
            </a:prstTxWarp>
          </a:bodyPr>
          <a:lstStyle/>
          <a:p>
            <a:pPr defTabSz="1042367">
              <a:defRPr/>
            </a:pPr>
            <a:endParaRPr lang="de-DE" sz="1400" kern="0">
              <a:solidFill>
                <a:srgbClr val="000000"/>
              </a:solidFill>
              <a:latin typeface="Century Gothic" panose="020B0502020202020204" pitchFamily="34" charset="0"/>
            </a:endParaRPr>
          </a:p>
        </p:txBody>
      </p:sp>
      <p:sp>
        <p:nvSpPr>
          <p:cNvPr id="22" name="TextBox 21">
            <a:extLst>
              <a:ext uri="{FF2B5EF4-FFF2-40B4-BE49-F238E27FC236}">
                <a16:creationId xmlns:a16="http://schemas.microsoft.com/office/drawing/2014/main" id="{101E76BE-42B1-0900-B40C-E1905C930A5A}"/>
              </a:ext>
            </a:extLst>
          </p:cNvPr>
          <p:cNvSpPr txBox="1"/>
          <p:nvPr/>
        </p:nvSpPr>
        <p:spPr>
          <a:xfrm>
            <a:off x="2499424" y="2867350"/>
            <a:ext cx="2545597" cy="830997"/>
          </a:xfrm>
          <a:prstGeom prst="rect">
            <a:avLst/>
          </a:prstGeom>
          <a:noFill/>
        </p:spPr>
        <p:txBody>
          <a:bodyPr wrap="square">
            <a:spAutoFit/>
          </a:bodyPr>
          <a:lstStyle/>
          <a:p>
            <a:pPr defTabSz="913029">
              <a:spcBef>
                <a:spcPts val="600"/>
              </a:spcBef>
              <a:buClr>
                <a:srgbClr val="FFE600"/>
              </a:buClr>
              <a:buSzPct val="100000"/>
              <a:defRPr/>
            </a:pPr>
            <a:r>
              <a:rPr lang="es-MX" sz="1200" kern="0" dirty="0">
                <a:latin typeface="Century Gothic" panose="020B0502020202020204" pitchFamily="34" charset="0"/>
              </a:rPr>
              <a:t>No existen modelos estandarizados sobre cómo integrar el riesgo climático en la gestión de riesgos. </a:t>
            </a:r>
          </a:p>
        </p:txBody>
      </p:sp>
      <p:sp>
        <p:nvSpPr>
          <p:cNvPr id="23" name="TextBox 22">
            <a:extLst>
              <a:ext uri="{FF2B5EF4-FFF2-40B4-BE49-F238E27FC236}">
                <a16:creationId xmlns:a16="http://schemas.microsoft.com/office/drawing/2014/main" id="{99B3AA8B-1B9E-456C-1130-E3F801CBA282}"/>
              </a:ext>
            </a:extLst>
          </p:cNvPr>
          <p:cNvSpPr txBox="1"/>
          <p:nvPr/>
        </p:nvSpPr>
        <p:spPr>
          <a:xfrm>
            <a:off x="2497411" y="4010778"/>
            <a:ext cx="2547610" cy="1200329"/>
          </a:xfrm>
          <a:prstGeom prst="rect">
            <a:avLst/>
          </a:prstGeom>
          <a:noFill/>
        </p:spPr>
        <p:txBody>
          <a:bodyPr wrap="square">
            <a:spAutoFit/>
          </a:bodyPr>
          <a:lstStyle/>
          <a:p>
            <a:pPr algn="just" defTabSz="913029">
              <a:spcBef>
                <a:spcPts val="600"/>
              </a:spcBef>
              <a:buClr>
                <a:srgbClr val="FFE600"/>
              </a:buClr>
              <a:buSzPct val="100000"/>
              <a:defRPr/>
            </a:pPr>
            <a:r>
              <a:rPr lang="es-MX" sz="1200" kern="0" dirty="0">
                <a:latin typeface="Century Gothic" panose="020B0502020202020204" pitchFamily="34" charset="0"/>
              </a:rPr>
              <a:t>Las Instituciones deben evaluar en qué medida su infraestructura física, personal, clientes y proveedores están expuestos a eventos climáticos extremos</a:t>
            </a:r>
          </a:p>
        </p:txBody>
      </p:sp>
      <p:sp>
        <p:nvSpPr>
          <p:cNvPr id="24" name="TextBox 23">
            <a:extLst>
              <a:ext uri="{FF2B5EF4-FFF2-40B4-BE49-F238E27FC236}">
                <a16:creationId xmlns:a16="http://schemas.microsoft.com/office/drawing/2014/main" id="{94085462-ACB5-E7A8-9680-2634FAC6FB0D}"/>
              </a:ext>
            </a:extLst>
          </p:cNvPr>
          <p:cNvSpPr txBox="1"/>
          <p:nvPr/>
        </p:nvSpPr>
        <p:spPr>
          <a:xfrm>
            <a:off x="2497411" y="5372268"/>
            <a:ext cx="2547610" cy="1015663"/>
          </a:xfrm>
          <a:prstGeom prst="rect">
            <a:avLst/>
          </a:prstGeom>
          <a:noFill/>
        </p:spPr>
        <p:txBody>
          <a:bodyPr wrap="square">
            <a:spAutoFit/>
          </a:bodyPr>
          <a:lstStyle/>
          <a:p>
            <a:pPr defTabSz="913029">
              <a:spcBef>
                <a:spcPts val="600"/>
              </a:spcBef>
              <a:buClr>
                <a:srgbClr val="FFE600"/>
              </a:buClr>
              <a:buSzPct val="100000"/>
              <a:defRPr/>
            </a:pPr>
            <a:r>
              <a:rPr lang="es-MX" sz="1200" kern="0" dirty="0">
                <a:latin typeface="Century Gothic" panose="020B0502020202020204" pitchFamily="34" charset="0"/>
              </a:rPr>
              <a:t>Personal con experiencia en riesgos climáticos y gestión de riesgos son escasos y están en alta demanda en todas las industrias.</a:t>
            </a:r>
          </a:p>
        </p:txBody>
      </p:sp>
      <p:pic>
        <p:nvPicPr>
          <p:cNvPr id="25" name="Picture 24">
            <a:extLst>
              <a:ext uri="{FF2B5EF4-FFF2-40B4-BE49-F238E27FC236}">
                <a16:creationId xmlns:a16="http://schemas.microsoft.com/office/drawing/2014/main" id="{D0BB51DC-ACF5-0283-7CFB-6E7AFBED70DD}"/>
              </a:ext>
            </a:extLst>
          </p:cNvPr>
          <p:cNvPicPr>
            <a:picLocks noChangeAspect="1"/>
          </p:cNvPicPr>
          <p:nvPr/>
        </p:nvPicPr>
        <p:blipFill>
          <a:blip r:embed="rId5">
            <a:duotone>
              <a:prstClr val="black"/>
              <a:srgbClr val="E84C22">
                <a:tint val="45000"/>
                <a:satMod val="400000"/>
              </a:srgbClr>
            </a:duotone>
            <a:alphaModFix amt="35000"/>
            <a:extLst>
              <a:ext uri="{BEBA8EAE-BF5A-486C-A8C5-ECC9F3942E4B}">
                <a14:imgProps xmlns:a14="http://schemas.microsoft.com/office/drawing/2010/main">
                  <a14:imgLayer r:embed="rId6">
                    <a14:imgEffect>
                      <a14:saturation sat="33000"/>
                    </a14:imgEffect>
                  </a14:imgLayer>
                </a14:imgProps>
              </a:ext>
            </a:extLst>
          </a:blip>
          <a:stretch>
            <a:fillRect/>
          </a:stretch>
        </p:blipFill>
        <p:spPr>
          <a:xfrm>
            <a:off x="2241357" y="2632776"/>
            <a:ext cx="256054" cy="1219306"/>
          </a:xfrm>
          <a:prstGeom prst="rect">
            <a:avLst/>
          </a:prstGeom>
          <a:ln>
            <a:solidFill>
              <a:srgbClr val="2770B0"/>
            </a:solidFill>
          </a:ln>
        </p:spPr>
      </p:pic>
      <p:pic>
        <p:nvPicPr>
          <p:cNvPr id="26" name="Picture 25">
            <a:extLst>
              <a:ext uri="{FF2B5EF4-FFF2-40B4-BE49-F238E27FC236}">
                <a16:creationId xmlns:a16="http://schemas.microsoft.com/office/drawing/2014/main" id="{4CAAA980-99C4-04CF-166C-37D102B635A9}"/>
              </a:ext>
            </a:extLst>
          </p:cNvPr>
          <p:cNvPicPr>
            <a:picLocks noChangeAspect="1"/>
          </p:cNvPicPr>
          <p:nvPr/>
        </p:nvPicPr>
        <p:blipFill>
          <a:blip r:embed="rId5">
            <a:duotone>
              <a:prstClr val="black"/>
              <a:srgbClr val="E84C22">
                <a:tint val="45000"/>
                <a:satMod val="400000"/>
              </a:srgbClr>
            </a:duotone>
            <a:alphaModFix amt="35000"/>
            <a:extLst>
              <a:ext uri="{BEBA8EAE-BF5A-486C-A8C5-ECC9F3942E4B}">
                <a14:imgProps xmlns:a14="http://schemas.microsoft.com/office/drawing/2010/main">
                  <a14:imgLayer r:embed="rId6">
                    <a14:imgEffect>
                      <a14:saturation sat="33000"/>
                    </a14:imgEffect>
                  </a14:imgLayer>
                </a14:imgProps>
              </a:ext>
            </a:extLst>
          </a:blip>
          <a:stretch>
            <a:fillRect/>
          </a:stretch>
        </p:blipFill>
        <p:spPr>
          <a:xfrm>
            <a:off x="2230563" y="3929470"/>
            <a:ext cx="256054" cy="1219306"/>
          </a:xfrm>
          <a:prstGeom prst="rect">
            <a:avLst/>
          </a:prstGeom>
        </p:spPr>
      </p:pic>
      <p:pic>
        <p:nvPicPr>
          <p:cNvPr id="27" name="Picture 26">
            <a:extLst>
              <a:ext uri="{FF2B5EF4-FFF2-40B4-BE49-F238E27FC236}">
                <a16:creationId xmlns:a16="http://schemas.microsoft.com/office/drawing/2014/main" id="{022D932A-2BAF-223E-B73C-7FC01CAE3D8A}"/>
              </a:ext>
            </a:extLst>
          </p:cNvPr>
          <p:cNvPicPr>
            <a:picLocks noChangeAspect="1"/>
          </p:cNvPicPr>
          <p:nvPr/>
        </p:nvPicPr>
        <p:blipFill>
          <a:blip r:embed="rId5">
            <a:duotone>
              <a:prstClr val="black"/>
              <a:srgbClr val="E84C22">
                <a:tint val="45000"/>
                <a:satMod val="400000"/>
              </a:srgbClr>
            </a:duotone>
            <a:alphaModFix amt="35000"/>
            <a:extLst>
              <a:ext uri="{BEBA8EAE-BF5A-486C-A8C5-ECC9F3942E4B}">
                <a14:imgProps xmlns:a14="http://schemas.microsoft.com/office/drawing/2010/main">
                  <a14:imgLayer r:embed="rId6">
                    <a14:imgEffect>
                      <a14:saturation sat="33000"/>
                    </a14:imgEffect>
                  </a14:imgLayer>
                </a14:imgProps>
              </a:ext>
            </a:extLst>
          </a:blip>
          <a:stretch>
            <a:fillRect/>
          </a:stretch>
        </p:blipFill>
        <p:spPr>
          <a:xfrm>
            <a:off x="2236160" y="5218141"/>
            <a:ext cx="256054" cy="1219306"/>
          </a:xfrm>
          <a:prstGeom prst="rect">
            <a:avLst/>
          </a:prstGeom>
        </p:spPr>
      </p:pic>
      <p:cxnSp>
        <p:nvCxnSpPr>
          <p:cNvPr id="29" name="Straight Connector 28">
            <a:extLst>
              <a:ext uri="{FF2B5EF4-FFF2-40B4-BE49-F238E27FC236}">
                <a16:creationId xmlns:a16="http://schemas.microsoft.com/office/drawing/2014/main" id="{CFA3F6B1-B23F-242B-70BF-3829E146E7E8}"/>
              </a:ext>
            </a:extLst>
          </p:cNvPr>
          <p:cNvCxnSpPr>
            <a:cxnSpLocks/>
          </p:cNvCxnSpPr>
          <p:nvPr/>
        </p:nvCxnSpPr>
        <p:spPr>
          <a:xfrm>
            <a:off x="2354737" y="3937485"/>
            <a:ext cx="2626462" cy="18821"/>
          </a:xfrm>
          <a:prstGeom prst="line">
            <a:avLst/>
          </a:prstGeom>
          <a:ln w="38100">
            <a:solidFill>
              <a:srgbClr val="525C9C"/>
            </a:solidFill>
            <a:prstDash val="dash"/>
          </a:ln>
        </p:spPr>
      </p:cxnSp>
      <p:cxnSp>
        <p:nvCxnSpPr>
          <p:cNvPr id="30" name="Straight Connector 29">
            <a:extLst>
              <a:ext uri="{FF2B5EF4-FFF2-40B4-BE49-F238E27FC236}">
                <a16:creationId xmlns:a16="http://schemas.microsoft.com/office/drawing/2014/main" id="{0DE50C08-BF4F-B706-1D26-E960231F6657}"/>
              </a:ext>
            </a:extLst>
          </p:cNvPr>
          <p:cNvCxnSpPr>
            <a:cxnSpLocks/>
          </p:cNvCxnSpPr>
          <p:nvPr/>
        </p:nvCxnSpPr>
        <p:spPr>
          <a:xfrm>
            <a:off x="2354737" y="5203270"/>
            <a:ext cx="2675637" cy="14871"/>
          </a:xfrm>
          <a:prstGeom prst="line">
            <a:avLst/>
          </a:prstGeom>
          <a:ln w="38100">
            <a:solidFill>
              <a:srgbClr val="525C9C"/>
            </a:solidFill>
            <a:prstDash val="dash"/>
          </a:ln>
        </p:spPr>
      </p:cxnSp>
      <p:cxnSp>
        <p:nvCxnSpPr>
          <p:cNvPr id="32" name="Straight Connector 31">
            <a:extLst>
              <a:ext uri="{FF2B5EF4-FFF2-40B4-BE49-F238E27FC236}">
                <a16:creationId xmlns:a16="http://schemas.microsoft.com/office/drawing/2014/main" id="{DADD21EE-1AAD-583A-20D2-B92CA4B36F54}"/>
              </a:ext>
            </a:extLst>
          </p:cNvPr>
          <p:cNvCxnSpPr>
            <a:cxnSpLocks/>
          </p:cNvCxnSpPr>
          <p:nvPr/>
        </p:nvCxnSpPr>
        <p:spPr>
          <a:xfrm>
            <a:off x="2354737" y="6442403"/>
            <a:ext cx="2690284" cy="9915"/>
          </a:xfrm>
          <a:prstGeom prst="line">
            <a:avLst/>
          </a:prstGeom>
          <a:ln w="38100">
            <a:solidFill>
              <a:srgbClr val="525C9C"/>
            </a:solidFill>
            <a:prstDash val="dash"/>
          </a:ln>
        </p:spPr>
      </p:cxnSp>
      <p:grpSp>
        <p:nvGrpSpPr>
          <p:cNvPr id="93" name="Group 92">
            <a:extLst>
              <a:ext uri="{FF2B5EF4-FFF2-40B4-BE49-F238E27FC236}">
                <a16:creationId xmlns:a16="http://schemas.microsoft.com/office/drawing/2014/main" id="{CC1B9E58-25D1-C231-D8A3-9BCBBFA952AA}"/>
              </a:ext>
            </a:extLst>
          </p:cNvPr>
          <p:cNvGrpSpPr/>
          <p:nvPr/>
        </p:nvGrpSpPr>
        <p:grpSpPr>
          <a:xfrm>
            <a:off x="884028" y="2544235"/>
            <a:ext cx="360000" cy="360000"/>
            <a:chOff x="2520056" y="4584349"/>
            <a:chExt cx="360000" cy="360000"/>
          </a:xfrm>
          <a:solidFill>
            <a:srgbClr val="F4F1F6"/>
          </a:solidFill>
        </p:grpSpPr>
        <p:sp>
          <p:nvSpPr>
            <p:cNvPr id="94" name="Oval 150">
              <a:extLst>
                <a:ext uri="{FF2B5EF4-FFF2-40B4-BE49-F238E27FC236}">
                  <a16:creationId xmlns:a16="http://schemas.microsoft.com/office/drawing/2014/main" id="{AA30B599-F640-0389-6A2E-25FA87294BE1}"/>
                </a:ext>
              </a:extLst>
            </p:cNvPr>
            <p:cNvSpPr>
              <a:spLocks/>
            </p:cNvSpPr>
            <p:nvPr/>
          </p:nvSpPr>
          <p:spPr bwMode="auto">
            <a:xfrm>
              <a:off x="2520056" y="4584349"/>
              <a:ext cx="360000" cy="360000"/>
            </a:xfrm>
            <a:prstGeom prst="ellipse">
              <a:avLst/>
            </a:prstGeom>
            <a:grpFill/>
            <a:ln>
              <a:solidFill>
                <a:srgbClr val="5F2364"/>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entury Gothic" panose="020B0502020202020204" pitchFamily="34" charset="0"/>
                <a:cs typeface="Arial" panose="020B0604020202020204" pitchFamily="34" charset="0"/>
              </a:endParaRPr>
            </a:p>
          </p:txBody>
        </p:sp>
        <p:sp>
          <p:nvSpPr>
            <p:cNvPr id="95" name="Oval 150">
              <a:extLst>
                <a:ext uri="{FF2B5EF4-FFF2-40B4-BE49-F238E27FC236}">
                  <a16:creationId xmlns:a16="http://schemas.microsoft.com/office/drawing/2014/main" id="{94B66FE2-D0E1-FF10-B160-B91D4B308F8C}"/>
                </a:ext>
              </a:extLst>
            </p:cNvPr>
            <p:cNvSpPr>
              <a:spLocks/>
            </p:cNvSpPr>
            <p:nvPr/>
          </p:nvSpPr>
          <p:spPr bwMode="auto">
            <a:xfrm>
              <a:off x="2585675" y="4649969"/>
              <a:ext cx="228762" cy="228761"/>
            </a:xfrm>
            <a:prstGeom prst="ellipse">
              <a:avLst/>
            </a:prstGeom>
            <a:grpFill/>
            <a:ln>
              <a:solidFill>
                <a:srgbClr val="5F2364"/>
              </a:solidFill>
            </a:ln>
            <a:effectLst>
              <a:outerShdw blurRad="63500" sx="102000" sy="102000" algn="ctr" rotWithShape="0">
                <a:prstClr val="black">
                  <a:alpha val="25000"/>
                </a:prstClr>
              </a:outerShdw>
            </a:effec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entury Gothic" panose="020B0502020202020204" pitchFamily="34" charset="0"/>
                  <a:cs typeface="Arial" panose="020B0604020202020204" pitchFamily="34" charset="0"/>
                </a:rPr>
                <a:t>1</a:t>
              </a:r>
            </a:p>
          </p:txBody>
        </p:sp>
      </p:grpSp>
      <p:grpSp>
        <p:nvGrpSpPr>
          <p:cNvPr id="96" name="Group 95">
            <a:extLst>
              <a:ext uri="{FF2B5EF4-FFF2-40B4-BE49-F238E27FC236}">
                <a16:creationId xmlns:a16="http://schemas.microsoft.com/office/drawing/2014/main" id="{9BF38E22-65D0-F9FF-AFB6-CD07AA4ABA84}"/>
              </a:ext>
            </a:extLst>
          </p:cNvPr>
          <p:cNvGrpSpPr/>
          <p:nvPr/>
        </p:nvGrpSpPr>
        <p:grpSpPr>
          <a:xfrm>
            <a:off x="919762" y="3820150"/>
            <a:ext cx="360000" cy="360000"/>
            <a:chOff x="2520056" y="4584349"/>
            <a:chExt cx="360000" cy="360000"/>
          </a:xfrm>
          <a:solidFill>
            <a:srgbClr val="F4F1F6"/>
          </a:solidFill>
        </p:grpSpPr>
        <p:sp>
          <p:nvSpPr>
            <p:cNvPr id="97" name="Oval 150">
              <a:extLst>
                <a:ext uri="{FF2B5EF4-FFF2-40B4-BE49-F238E27FC236}">
                  <a16:creationId xmlns:a16="http://schemas.microsoft.com/office/drawing/2014/main" id="{7FC424F2-D9D7-8810-EEF5-CCF424661A20}"/>
                </a:ext>
              </a:extLst>
            </p:cNvPr>
            <p:cNvSpPr>
              <a:spLocks/>
            </p:cNvSpPr>
            <p:nvPr/>
          </p:nvSpPr>
          <p:spPr bwMode="auto">
            <a:xfrm>
              <a:off x="2520056" y="4584349"/>
              <a:ext cx="360000" cy="360000"/>
            </a:xfrm>
            <a:prstGeom prst="ellipse">
              <a:avLst/>
            </a:prstGeom>
            <a:grpFill/>
            <a:ln>
              <a:solidFill>
                <a:srgbClr val="5F2364"/>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entury Gothic" panose="020B0502020202020204" pitchFamily="34" charset="0"/>
                <a:cs typeface="Arial" panose="020B0604020202020204" pitchFamily="34" charset="0"/>
              </a:endParaRPr>
            </a:p>
          </p:txBody>
        </p:sp>
        <p:sp>
          <p:nvSpPr>
            <p:cNvPr id="98" name="Oval 150">
              <a:extLst>
                <a:ext uri="{FF2B5EF4-FFF2-40B4-BE49-F238E27FC236}">
                  <a16:creationId xmlns:a16="http://schemas.microsoft.com/office/drawing/2014/main" id="{C32F4625-C107-540C-1A95-CB35BA256948}"/>
                </a:ext>
              </a:extLst>
            </p:cNvPr>
            <p:cNvSpPr>
              <a:spLocks/>
            </p:cNvSpPr>
            <p:nvPr/>
          </p:nvSpPr>
          <p:spPr bwMode="auto">
            <a:xfrm>
              <a:off x="2585675" y="4649969"/>
              <a:ext cx="228762" cy="228761"/>
            </a:xfrm>
            <a:prstGeom prst="ellipse">
              <a:avLst/>
            </a:prstGeom>
            <a:grpFill/>
            <a:ln>
              <a:solidFill>
                <a:srgbClr val="5F2364"/>
              </a:solidFill>
            </a:ln>
            <a:effectLst>
              <a:outerShdw blurRad="63500" sx="102000" sy="102000" algn="ctr" rotWithShape="0">
                <a:prstClr val="black">
                  <a:alpha val="25000"/>
                </a:prstClr>
              </a:outerShdw>
            </a:effec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entury Gothic" panose="020B0502020202020204" pitchFamily="34" charset="0"/>
                  <a:cs typeface="Arial" panose="020B0604020202020204" pitchFamily="34" charset="0"/>
                </a:rPr>
                <a:t>2</a:t>
              </a:r>
            </a:p>
          </p:txBody>
        </p:sp>
      </p:grpSp>
      <p:grpSp>
        <p:nvGrpSpPr>
          <p:cNvPr id="99" name="Group 98">
            <a:extLst>
              <a:ext uri="{FF2B5EF4-FFF2-40B4-BE49-F238E27FC236}">
                <a16:creationId xmlns:a16="http://schemas.microsoft.com/office/drawing/2014/main" id="{2F419264-666D-079C-C4D6-83D24E390640}"/>
              </a:ext>
            </a:extLst>
          </p:cNvPr>
          <p:cNvGrpSpPr/>
          <p:nvPr/>
        </p:nvGrpSpPr>
        <p:grpSpPr>
          <a:xfrm>
            <a:off x="916098" y="5133241"/>
            <a:ext cx="360000" cy="360000"/>
            <a:chOff x="2520056" y="4584349"/>
            <a:chExt cx="360000" cy="360000"/>
          </a:xfrm>
          <a:solidFill>
            <a:srgbClr val="F4F1F6"/>
          </a:solidFill>
        </p:grpSpPr>
        <p:sp>
          <p:nvSpPr>
            <p:cNvPr id="100" name="Oval 150">
              <a:extLst>
                <a:ext uri="{FF2B5EF4-FFF2-40B4-BE49-F238E27FC236}">
                  <a16:creationId xmlns:a16="http://schemas.microsoft.com/office/drawing/2014/main" id="{701B3953-B3A7-8197-DEF0-C4EE7FAA4B18}"/>
                </a:ext>
              </a:extLst>
            </p:cNvPr>
            <p:cNvSpPr>
              <a:spLocks/>
            </p:cNvSpPr>
            <p:nvPr/>
          </p:nvSpPr>
          <p:spPr bwMode="auto">
            <a:xfrm>
              <a:off x="2520056" y="4584349"/>
              <a:ext cx="360000" cy="360000"/>
            </a:xfrm>
            <a:prstGeom prst="ellipse">
              <a:avLst/>
            </a:prstGeom>
            <a:grpFill/>
            <a:ln>
              <a:solidFill>
                <a:srgbClr val="5F2364"/>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entury Gothic" panose="020B0502020202020204" pitchFamily="34" charset="0"/>
                <a:cs typeface="Arial" panose="020B0604020202020204" pitchFamily="34" charset="0"/>
              </a:endParaRPr>
            </a:p>
          </p:txBody>
        </p:sp>
        <p:sp>
          <p:nvSpPr>
            <p:cNvPr id="101" name="Oval 150">
              <a:extLst>
                <a:ext uri="{FF2B5EF4-FFF2-40B4-BE49-F238E27FC236}">
                  <a16:creationId xmlns:a16="http://schemas.microsoft.com/office/drawing/2014/main" id="{F0B27931-3E9B-63F3-D356-3D27EABF7756}"/>
                </a:ext>
              </a:extLst>
            </p:cNvPr>
            <p:cNvSpPr>
              <a:spLocks/>
            </p:cNvSpPr>
            <p:nvPr/>
          </p:nvSpPr>
          <p:spPr bwMode="auto">
            <a:xfrm>
              <a:off x="2585675" y="4649969"/>
              <a:ext cx="228762" cy="228761"/>
            </a:xfrm>
            <a:prstGeom prst="ellipse">
              <a:avLst/>
            </a:prstGeom>
            <a:grpFill/>
            <a:ln>
              <a:solidFill>
                <a:srgbClr val="5F2364"/>
              </a:solidFill>
            </a:ln>
            <a:effectLst>
              <a:outerShdw blurRad="63500" sx="102000" sy="102000" algn="ctr" rotWithShape="0">
                <a:prstClr val="black">
                  <a:alpha val="25000"/>
                </a:prstClr>
              </a:outerShdw>
            </a:effec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entury Gothic" panose="020B0502020202020204" pitchFamily="34" charset="0"/>
                  <a:cs typeface="Arial" panose="020B0604020202020204" pitchFamily="34" charset="0"/>
                </a:rPr>
                <a:t>3</a:t>
              </a:r>
            </a:p>
          </p:txBody>
        </p:sp>
      </p:grpSp>
      <p:pic>
        <p:nvPicPr>
          <p:cNvPr id="102" name="Graphic 101" descr="Teacher with solid fill">
            <a:extLst>
              <a:ext uri="{FF2B5EF4-FFF2-40B4-BE49-F238E27FC236}">
                <a16:creationId xmlns:a16="http://schemas.microsoft.com/office/drawing/2014/main" id="{2C2DB54E-0B0B-975D-B32A-FDA076D6CE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098" y="5357398"/>
            <a:ext cx="914400" cy="914400"/>
          </a:xfrm>
          <a:prstGeom prst="rect">
            <a:avLst/>
          </a:prstGeom>
        </p:spPr>
      </p:pic>
      <p:sp>
        <p:nvSpPr>
          <p:cNvPr id="103" name="object 597">
            <a:extLst>
              <a:ext uri="{FF2B5EF4-FFF2-40B4-BE49-F238E27FC236}">
                <a16:creationId xmlns:a16="http://schemas.microsoft.com/office/drawing/2014/main" id="{793C0830-C53E-96BE-C038-1852C40F3ADB}"/>
              </a:ext>
            </a:extLst>
          </p:cNvPr>
          <p:cNvSpPr/>
          <p:nvPr/>
        </p:nvSpPr>
        <p:spPr>
          <a:xfrm>
            <a:off x="2313313" y="2685103"/>
            <a:ext cx="2731708" cy="45719"/>
          </a:xfrm>
          <a:custGeom>
            <a:avLst/>
            <a:gdLst/>
            <a:ahLst/>
            <a:cxnLst/>
            <a:rect l="l" t="t" r="r" b="b"/>
            <a:pathLst>
              <a:path w="3352800">
                <a:moveTo>
                  <a:pt x="0" y="0"/>
                </a:moveTo>
                <a:lnTo>
                  <a:pt x="3352800" y="0"/>
                </a:lnTo>
              </a:path>
            </a:pathLst>
          </a:custGeom>
          <a:ln w="38100">
            <a:solidFill>
              <a:srgbClr val="525C9C"/>
            </a:solidFill>
            <a:prstDash val="dash"/>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Tree>
    <p:extLst>
      <p:ext uri="{BB962C8B-B14F-4D97-AF65-F5344CB8AC3E}">
        <p14:creationId xmlns:p14="http://schemas.microsoft.com/office/powerpoint/2010/main" val="3824163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4E7F3-128A-D821-4242-4B9851F47C47}"/>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B118E0A5-C6A6-DED2-8D98-42B2D63FD112}"/>
              </a:ext>
            </a:extLst>
          </p:cNvPr>
          <p:cNvSpPr/>
          <p:nvPr/>
        </p:nvSpPr>
        <p:spPr>
          <a:xfrm>
            <a:off x="-92" y="0"/>
            <a:ext cx="293337" cy="6858000"/>
          </a:xfrm>
          <a:prstGeom prst="rect">
            <a:avLst/>
          </a:prstGeom>
          <a:solidFill>
            <a:srgbClr val="5F23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Imagen 9">
            <a:extLst>
              <a:ext uri="{FF2B5EF4-FFF2-40B4-BE49-F238E27FC236}">
                <a16:creationId xmlns:a16="http://schemas.microsoft.com/office/drawing/2014/main" id="{572B39FF-63D7-4780-65AD-6A2DEDA88812}"/>
              </a:ext>
            </a:extLst>
          </p:cNvPr>
          <p:cNvPicPr>
            <a:picLocks noChangeAspect="1"/>
          </p:cNvPicPr>
          <p:nvPr/>
        </p:nvPicPr>
        <p:blipFill>
          <a:blip r:embed="rId3"/>
          <a:stretch>
            <a:fillRect/>
          </a:stretch>
        </p:blipFill>
        <p:spPr>
          <a:xfrm>
            <a:off x="-175088" y="1272045"/>
            <a:ext cx="987001" cy="976273"/>
          </a:xfrm>
          <a:prstGeom prst="rect">
            <a:avLst/>
          </a:prstGeom>
        </p:spPr>
      </p:pic>
      <p:sp>
        <p:nvSpPr>
          <p:cNvPr id="23" name="CuadroTexto 22">
            <a:extLst>
              <a:ext uri="{FF2B5EF4-FFF2-40B4-BE49-F238E27FC236}">
                <a16:creationId xmlns:a16="http://schemas.microsoft.com/office/drawing/2014/main" id="{7997B045-2ACF-81C7-F5B9-693AB6082196}"/>
              </a:ext>
            </a:extLst>
          </p:cNvPr>
          <p:cNvSpPr txBox="1"/>
          <p:nvPr/>
        </p:nvSpPr>
        <p:spPr>
          <a:xfrm>
            <a:off x="644832" y="301423"/>
            <a:ext cx="7252984" cy="542200"/>
          </a:xfrm>
          <a:prstGeom prst="rect">
            <a:avLst/>
          </a:prstGeom>
          <a:noFill/>
        </p:spPr>
        <p:txBody>
          <a:bodyPr wrap="square" rtlCol="0">
            <a:spAutoFit/>
          </a:bodyPr>
          <a:lstStyle/>
          <a:p>
            <a:pPr lvl="0">
              <a:lnSpc>
                <a:spcPct val="115000"/>
              </a:lnSpc>
            </a:pPr>
            <a:r>
              <a:rPr lang="es-ES" sz="2800" b="1" kern="100" dirty="0">
                <a:solidFill>
                  <a:schemeClr val="tx1">
                    <a:lumMod val="75000"/>
                    <a:lumOff val="25000"/>
                  </a:schemeClr>
                </a:solidFill>
                <a:latin typeface="Century Gothic" panose="020B0502020202020204" pitchFamily="34" charset="0"/>
                <a:ea typeface="Tahoma" panose="020B0604030504040204" pitchFamily="34" charset="0"/>
                <a:cs typeface="Tahoma" panose="020B0604030504040204" pitchFamily="34" charset="0"/>
              </a:rPr>
              <a:t>Riesgo Climático</a:t>
            </a:r>
            <a:endParaRPr lang="es-CO" sz="2800" b="1" kern="100" dirty="0">
              <a:solidFill>
                <a:schemeClr val="tx1">
                  <a:lumMod val="75000"/>
                  <a:lumOff val="25000"/>
                </a:schemeClr>
              </a:solidFill>
              <a:effectLst/>
              <a:latin typeface="Century Gothic" panose="020B0502020202020204" pitchFamily="34" charset="0"/>
              <a:ea typeface="Tahoma" panose="020B0604030504040204" pitchFamily="34" charset="0"/>
              <a:cs typeface="Tahoma" panose="020B0604030504040204" pitchFamily="34" charset="0"/>
            </a:endParaRPr>
          </a:p>
        </p:txBody>
      </p:sp>
      <p:pic>
        <p:nvPicPr>
          <p:cNvPr id="2" name="Picture 1" descr="A map of the world&#10;&#10;Description automatically generated">
            <a:extLst>
              <a:ext uri="{FF2B5EF4-FFF2-40B4-BE49-F238E27FC236}">
                <a16:creationId xmlns:a16="http://schemas.microsoft.com/office/drawing/2014/main" id="{8F556678-48D4-3E16-9869-D6AAD99F71E5}"/>
              </a:ext>
            </a:extLst>
          </p:cNvPr>
          <p:cNvPicPr>
            <a:picLocks noChangeAspect="1"/>
          </p:cNvPicPr>
          <p:nvPr/>
        </p:nvPicPr>
        <p:blipFill>
          <a:blip r:embed="rId4">
            <a:extLst>
              <a:ext uri="{BEBA8EAE-BF5A-486C-A8C5-ECC9F3942E4B}">
                <a14:imgProps xmlns:a14="http://schemas.microsoft.com/office/drawing/2010/main">
                  <a14:imgLayer r:embed="rId5">
                    <a14:imgEffect>
                      <a14:saturation sat="200000"/>
                    </a14:imgEffect>
                  </a14:imgLayer>
                </a14:imgProps>
              </a:ext>
            </a:extLst>
          </a:blip>
          <a:stretch>
            <a:fillRect/>
          </a:stretch>
        </p:blipFill>
        <p:spPr>
          <a:xfrm>
            <a:off x="2076102" y="1910907"/>
            <a:ext cx="8812846" cy="4174355"/>
          </a:xfrm>
          <a:prstGeom prst="rect">
            <a:avLst/>
          </a:prstGeom>
        </p:spPr>
      </p:pic>
      <p:pic>
        <p:nvPicPr>
          <p:cNvPr id="3" name="Picture 2">
            <a:extLst>
              <a:ext uri="{FF2B5EF4-FFF2-40B4-BE49-F238E27FC236}">
                <a16:creationId xmlns:a16="http://schemas.microsoft.com/office/drawing/2014/main" id="{7DFAA368-535F-AFCC-EB8F-D6D4DB367902}"/>
              </a:ext>
            </a:extLst>
          </p:cNvPr>
          <p:cNvPicPr>
            <a:picLocks noChangeAspect="1"/>
          </p:cNvPicPr>
          <p:nvPr/>
        </p:nvPicPr>
        <p:blipFill>
          <a:blip r:embed="rId6"/>
          <a:stretch>
            <a:fillRect/>
          </a:stretch>
        </p:blipFill>
        <p:spPr>
          <a:xfrm>
            <a:off x="445794" y="2928572"/>
            <a:ext cx="2221743" cy="697682"/>
          </a:xfrm>
          <a:prstGeom prst="roundRect">
            <a:avLst/>
          </a:prstGeom>
        </p:spPr>
      </p:pic>
      <p:pic>
        <p:nvPicPr>
          <p:cNvPr id="4" name="Picture 3">
            <a:extLst>
              <a:ext uri="{FF2B5EF4-FFF2-40B4-BE49-F238E27FC236}">
                <a16:creationId xmlns:a16="http://schemas.microsoft.com/office/drawing/2014/main" id="{A9336315-321B-A9E7-B781-182E963074F1}"/>
              </a:ext>
            </a:extLst>
          </p:cNvPr>
          <p:cNvPicPr>
            <a:picLocks noChangeAspect="1"/>
          </p:cNvPicPr>
          <p:nvPr/>
        </p:nvPicPr>
        <p:blipFill>
          <a:blip r:embed="rId7"/>
          <a:stretch>
            <a:fillRect/>
          </a:stretch>
        </p:blipFill>
        <p:spPr>
          <a:xfrm>
            <a:off x="1252325" y="4714381"/>
            <a:ext cx="2188188" cy="697683"/>
          </a:xfrm>
          <a:prstGeom prst="roundRect">
            <a:avLst/>
          </a:prstGeom>
        </p:spPr>
      </p:pic>
      <p:pic>
        <p:nvPicPr>
          <p:cNvPr id="5" name="Picture 4">
            <a:extLst>
              <a:ext uri="{FF2B5EF4-FFF2-40B4-BE49-F238E27FC236}">
                <a16:creationId xmlns:a16="http://schemas.microsoft.com/office/drawing/2014/main" id="{C7D880B5-09EE-AB81-9B27-16BA51DF20F8}"/>
              </a:ext>
            </a:extLst>
          </p:cNvPr>
          <p:cNvPicPr>
            <a:picLocks noChangeAspect="1"/>
          </p:cNvPicPr>
          <p:nvPr/>
        </p:nvPicPr>
        <p:blipFill>
          <a:blip r:embed="rId8"/>
          <a:stretch>
            <a:fillRect/>
          </a:stretch>
        </p:blipFill>
        <p:spPr>
          <a:xfrm>
            <a:off x="10003811" y="2833107"/>
            <a:ext cx="2188189" cy="697682"/>
          </a:xfrm>
          <a:prstGeom prst="roundRect">
            <a:avLst/>
          </a:prstGeom>
        </p:spPr>
      </p:pic>
      <p:pic>
        <p:nvPicPr>
          <p:cNvPr id="6" name="Picture 5">
            <a:extLst>
              <a:ext uri="{FF2B5EF4-FFF2-40B4-BE49-F238E27FC236}">
                <a16:creationId xmlns:a16="http://schemas.microsoft.com/office/drawing/2014/main" id="{D4C52436-9732-9C60-B27B-5C3A2B40F968}"/>
              </a:ext>
            </a:extLst>
          </p:cNvPr>
          <p:cNvPicPr>
            <a:picLocks noChangeAspect="1"/>
          </p:cNvPicPr>
          <p:nvPr/>
        </p:nvPicPr>
        <p:blipFill>
          <a:blip r:embed="rId9"/>
          <a:stretch>
            <a:fillRect/>
          </a:stretch>
        </p:blipFill>
        <p:spPr>
          <a:xfrm>
            <a:off x="6374556" y="5710164"/>
            <a:ext cx="2188188" cy="697682"/>
          </a:xfrm>
          <a:prstGeom prst="roundRect">
            <a:avLst/>
          </a:prstGeom>
        </p:spPr>
      </p:pic>
      <p:cxnSp>
        <p:nvCxnSpPr>
          <p:cNvPr id="7" name="Straight Connector 6">
            <a:extLst>
              <a:ext uri="{FF2B5EF4-FFF2-40B4-BE49-F238E27FC236}">
                <a16:creationId xmlns:a16="http://schemas.microsoft.com/office/drawing/2014/main" id="{1D7D3E31-F0AC-F67E-AA93-31A18BA8DC8B}"/>
              </a:ext>
            </a:extLst>
          </p:cNvPr>
          <p:cNvCxnSpPr>
            <a:cxnSpLocks/>
          </p:cNvCxnSpPr>
          <p:nvPr/>
        </p:nvCxnSpPr>
        <p:spPr>
          <a:xfrm>
            <a:off x="5690045" y="3916555"/>
            <a:ext cx="13669" cy="2143970"/>
          </a:xfrm>
          <a:prstGeom prst="line">
            <a:avLst/>
          </a:prstGeom>
          <a:noFill/>
          <a:ln w="19050" cap="flat" cmpd="sng" algn="ctr">
            <a:solidFill>
              <a:srgbClr val="E9488B"/>
            </a:solidFill>
            <a:prstDash val="dash"/>
            <a:tailEnd type="none"/>
          </a:ln>
          <a:effectLst/>
        </p:spPr>
      </p:cxnSp>
      <p:grpSp>
        <p:nvGrpSpPr>
          <p:cNvPr id="8" name="Group 7">
            <a:extLst>
              <a:ext uri="{FF2B5EF4-FFF2-40B4-BE49-F238E27FC236}">
                <a16:creationId xmlns:a16="http://schemas.microsoft.com/office/drawing/2014/main" id="{50054A54-EC16-B563-8527-548A72B59E51}"/>
              </a:ext>
            </a:extLst>
          </p:cNvPr>
          <p:cNvGrpSpPr/>
          <p:nvPr/>
        </p:nvGrpSpPr>
        <p:grpSpPr>
          <a:xfrm>
            <a:off x="2281953" y="6416645"/>
            <a:ext cx="7628093" cy="425360"/>
            <a:chOff x="2153992" y="6336657"/>
            <a:chExt cx="7628093" cy="425360"/>
          </a:xfrm>
        </p:grpSpPr>
        <p:sp>
          <p:nvSpPr>
            <p:cNvPr id="11" name="Rectangle: Rounded Corners 142">
              <a:extLst>
                <a:ext uri="{FF2B5EF4-FFF2-40B4-BE49-F238E27FC236}">
                  <a16:creationId xmlns:a16="http://schemas.microsoft.com/office/drawing/2014/main" id="{A064C632-746E-D3F0-FCC3-3FB3E9D4D914}"/>
                </a:ext>
              </a:extLst>
            </p:cNvPr>
            <p:cNvSpPr>
              <a:spLocks/>
            </p:cNvSpPr>
            <p:nvPr/>
          </p:nvSpPr>
          <p:spPr>
            <a:xfrm>
              <a:off x="2153992" y="6341540"/>
              <a:ext cx="7628093" cy="403607"/>
            </a:xfrm>
            <a:prstGeom prst="roundRect">
              <a:avLst>
                <a:gd name="adj" fmla="val 10911"/>
              </a:avLst>
            </a:prstGeom>
            <a:solidFill>
              <a:sysClr val="window" lastClr="FFFFFF">
                <a:lumMod val="95000"/>
                <a:alpha val="45098"/>
              </a:sysClr>
            </a:solidFill>
            <a:ln w="9525" cap="flat" cmpd="sng" algn="ctr">
              <a:noFill/>
              <a:prstDash val="solid"/>
            </a:ln>
            <a:effectLst>
              <a:outerShdw blurRad="50800" dist="38100" dir="2700000" algn="tl" rotWithShape="0">
                <a:prstClr val="black">
                  <a:alpha val="40000"/>
                </a:prstClr>
              </a:outerShdw>
            </a:effectLst>
          </p:spPr>
          <p:txBody>
            <a:bodyPr rtlCol="0" anchor="t" anchorCtr="0"/>
            <a:lstStyle/>
            <a:p>
              <a:pPr marL="0" marR="0" lvl="0" indent="0" algn="ctr" defTabSz="80668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EYInterstate Light" panose="02000506000000020004" pitchFamily="2" charset="0"/>
              </a:endParaRPr>
            </a:p>
          </p:txBody>
        </p:sp>
        <p:sp>
          <p:nvSpPr>
            <p:cNvPr id="12" name="TextBox 11">
              <a:extLst>
                <a:ext uri="{FF2B5EF4-FFF2-40B4-BE49-F238E27FC236}">
                  <a16:creationId xmlns:a16="http://schemas.microsoft.com/office/drawing/2014/main" id="{52094D95-504A-261D-434D-57D9FD95ACFF}"/>
                </a:ext>
              </a:extLst>
            </p:cNvPr>
            <p:cNvSpPr txBox="1"/>
            <p:nvPr/>
          </p:nvSpPr>
          <p:spPr>
            <a:xfrm>
              <a:off x="2582427" y="6445384"/>
              <a:ext cx="2369002" cy="223138"/>
            </a:xfrm>
            <a:prstGeom prst="rect">
              <a:avLst/>
            </a:prstGeom>
            <a:noFill/>
          </p:spPr>
          <p:txBody>
            <a:bodyPr wrap="square">
              <a:spAutoFit/>
            </a:bodyPr>
            <a:lstStyle/>
            <a:p>
              <a:pPr marL="0" marR="0" lvl="0" indent="0" algn="just" defTabSz="914400" eaLnBrk="1" fontAlgn="auto" latinLnBrk="0" hangingPunct="1">
                <a:lnSpc>
                  <a:spcPct val="85000"/>
                </a:lnSpc>
                <a:spcBef>
                  <a:spcPts val="0"/>
                </a:spcBef>
                <a:spcAft>
                  <a:spcPts val="600"/>
                </a:spcAft>
                <a:buClr>
                  <a:srgbClr val="FFE600"/>
                </a:buClr>
                <a:buSzPct val="80000"/>
                <a:buFontTx/>
                <a:buNone/>
                <a:tabLst/>
                <a:defRPr/>
              </a:pPr>
              <a:r>
                <a:rPr kumimoji="0" lang="es-MX" sz="1000" b="0" i="0" u="none" strike="noStrike" kern="0" cap="none" spc="0" normalizeH="0" baseline="0" noProof="0" dirty="0">
                  <a:ln>
                    <a:noFill/>
                  </a:ln>
                  <a:solidFill>
                    <a:srgbClr val="000000"/>
                  </a:solidFill>
                  <a:effectLst/>
                  <a:uLnTx/>
                  <a:uFillTx/>
                  <a:latin typeface="EYInterstate Light"/>
                </a:rPr>
                <a:t>Métricas y riesgos de sostenibilidad</a:t>
              </a:r>
            </a:p>
          </p:txBody>
        </p:sp>
        <p:grpSp>
          <p:nvGrpSpPr>
            <p:cNvPr id="13" name="Group 12">
              <a:extLst>
                <a:ext uri="{FF2B5EF4-FFF2-40B4-BE49-F238E27FC236}">
                  <a16:creationId xmlns:a16="http://schemas.microsoft.com/office/drawing/2014/main" id="{500347BC-831D-B854-7941-D40E2C891BCC}"/>
                </a:ext>
              </a:extLst>
            </p:cNvPr>
            <p:cNvGrpSpPr/>
            <p:nvPr/>
          </p:nvGrpSpPr>
          <p:grpSpPr>
            <a:xfrm>
              <a:off x="7290871" y="6336659"/>
              <a:ext cx="413956" cy="425358"/>
              <a:chOff x="97536" y="5779008"/>
              <a:chExt cx="914400" cy="914400"/>
            </a:xfrm>
          </p:grpSpPr>
          <p:pic>
            <p:nvPicPr>
              <p:cNvPr id="20" name="Graphic 19" descr="Cloud outline">
                <a:extLst>
                  <a:ext uri="{FF2B5EF4-FFF2-40B4-BE49-F238E27FC236}">
                    <a16:creationId xmlns:a16="http://schemas.microsoft.com/office/drawing/2014/main" id="{0DEEA843-5058-6554-B503-A6DA12F0CA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536" y="5779008"/>
                <a:ext cx="914400" cy="914400"/>
              </a:xfrm>
              <a:prstGeom prst="rect">
                <a:avLst/>
              </a:prstGeom>
            </p:spPr>
          </p:pic>
          <p:sp>
            <p:nvSpPr>
              <p:cNvPr id="21" name="TextBox 20">
                <a:extLst>
                  <a:ext uri="{FF2B5EF4-FFF2-40B4-BE49-F238E27FC236}">
                    <a16:creationId xmlns:a16="http://schemas.microsoft.com/office/drawing/2014/main" id="{0F44A1F7-614A-5B0F-1DC0-F24B725B55CE}"/>
                  </a:ext>
                </a:extLst>
              </p:cNvPr>
              <p:cNvSpPr txBox="1"/>
              <p:nvPr/>
            </p:nvSpPr>
            <p:spPr>
              <a:xfrm>
                <a:off x="316952" y="6122410"/>
                <a:ext cx="579559" cy="307354"/>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27ACAA"/>
                  </a:buClr>
                  <a:buSzPct val="70000"/>
                  <a:buFontTx/>
                  <a:buNone/>
                  <a:tabLst/>
                  <a:defRPr/>
                </a:pPr>
                <a:r>
                  <a:rPr kumimoji="0" lang="en-US" sz="900" b="1" i="0" u="none" strike="noStrike" kern="0" cap="none" spc="0" normalizeH="0" baseline="0" noProof="0" dirty="0">
                    <a:ln>
                      <a:noFill/>
                    </a:ln>
                    <a:solidFill>
                      <a:srgbClr val="000000"/>
                    </a:solidFill>
                    <a:effectLst/>
                    <a:uLnTx/>
                    <a:uFillTx/>
                    <a:latin typeface="EYInterstate Light"/>
                  </a:rPr>
                  <a:t>CO2</a:t>
                </a:r>
                <a:endParaRPr kumimoji="0" lang="es-MX" sz="900" b="1" i="0" u="none" strike="noStrike" kern="0" cap="none" spc="0" normalizeH="0" baseline="0" noProof="0" dirty="0" err="1">
                  <a:ln>
                    <a:noFill/>
                  </a:ln>
                  <a:solidFill>
                    <a:srgbClr val="000000"/>
                  </a:solidFill>
                  <a:effectLst/>
                  <a:uLnTx/>
                  <a:uFillTx/>
                  <a:latin typeface="EYInterstate Light"/>
                </a:endParaRPr>
              </a:p>
            </p:txBody>
          </p:sp>
        </p:grpSp>
        <p:sp>
          <p:nvSpPr>
            <p:cNvPr id="14" name="TextBox 13">
              <a:extLst>
                <a:ext uri="{FF2B5EF4-FFF2-40B4-BE49-F238E27FC236}">
                  <a16:creationId xmlns:a16="http://schemas.microsoft.com/office/drawing/2014/main" id="{F519666B-7F60-4288-9152-31EB7E0D4234}"/>
                </a:ext>
              </a:extLst>
            </p:cNvPr>
            <p:cNvSpPr txBox="1"/>
            <p:nvPr/>
          </p:nvSpPr>
          <p:spPr>
            <a:xfrm>
              <a:off x="7701104" y="6453851"/>
              <a:ext cx="2010162" cy="223138"/>
            </a:xfrm>
            <a:prstGeom prst="rect">
              <a:avLst/>
            </a:prstGeom>
            <a:noFill/>
          </p:spPr>
          <p:txBody>
            <a:bodyPr wrap="square">
              <a:spAutoFit/>
            </a:bodyPr>
            <a:lstStyle/>
            <a:p>
              <a:pPr marL="0" marR="0" lvl="0" indent="0" algn="just" defTabSz="914400" eaLnBrk="1" fontAlgn="auto" latinLnBrk="0" hangingPunct="1">
                <a:lnSpc>
                  <a:spcPct val="85000"/>
                </a:lnSpc>
                <a:spcBef>
                  <a:spcPts val="0"/>
                </a:spcBef>
                <a:spcAft>
                  <a:spcPts val="600"/>
                </a:spcAft>
                <a:buClr>
                  <a:srgbClr val="FFE600"/>
                </a:buClr>
                <a:buSzPct val="80000"/>
                <a:buFontTx/>
                <a:buNone/>
                <a:tabLst/>
                <a:defRPr/>
              </a:pPr>
              <a:r>
                <a:rPr kumimoji="0" lang="es-MX" sz="1000" b="0" i="0" u="none" strike="noStrike" kern="0" cap="none" spc="0" normalizeH="0" baseline="0" noProof="0" dirty="0">
                  <a:ln>
                    <a:noFill/>
                  </a:ln>
                  <a:solidFill>
                    <a:srgbClr val="000000"/>
                  </a:solidFill>
                  <a:effectLst/>
                  <a:uLnTx/>
                  <a:uFillTx/>
                  <a:latin typeface="EYInterstate Light"/>
                </a:rPr>
                <a:t>Inventario de Emisiones</a:t>
              </a:r>
            </a:p>
          </p:txBody>
        </p:sp>
        <p:sp>
          <p:nvSpPr>
            <p:cNvPr id="15" name="TextBox 14">
              <a:extLst>
                <a:ext uri="{FF2B5EF4-FFF2-40B4-BE49-F238E27FC236}">
                  <a16:creationId xmlns:a16="http://schemas.microsoft.com/office/drawing/2014/main" id="{FECFBE11-C742-B6D9-F862-D405B4F99F26}"/>
                </a:ext>
              </a:extLst>
            </p:cNvPr>
            <p:cNvSpPr txBox="1"/>
            <p:nvPr/>
          </p:nvSpPr>
          <p:spPr>
            <a:xfrm>
              <a:off x="5591824" y="6451378"/>
              <a:ext cx="1316875" cy="223138"/>
            </a:xfrm>
            <a:prstGeom prst="rect">
              <a:avLst/>
            </a:prstGeom>
            <a:noFill/>
          </p:spPr>
          <p:txBody>
            <a:bodyPr wrap="square">
              <a:spAutoFit/>
            </a:bodyPr>
            <a:lstStyle/>
            <a:p>
              <a:pPr marL="0" marR="0" lvl="0" indent="0" algn="just" defTabSz="914400" eaLnBrk="1" fontAlgn="auto" latinLnBrk="0" hangingPunct="1">
                <a:lnSpc>
                  <a:spcPct val="85000"/>
                </a:lnSpc>
                <a:spcBef>
                  <a:spcPts val="0"/>
                </a:spcBef>
                <a:spcAft>
                  <a:spcPts val="600"/>
                </a:spcAft>
                <a:buClr>
                  <a:srgbClr val="FFE600"/>
                </a:buClr>
                <a:buSzPct val="80000"/>
                <a:buFontTx/>
                <a:buNone/>
                <a:tabLst/>
                <a:defRPr/>
              </a:pPr>
              <a:r>
                <a:rPr kumimoji="0" lang="es-MX" sz="1000" b="0" i="0" u="none" strike="noStrike" kern="0" cap="none" spc="0" normalizeH="0" baseline="0" noProof="0" dirty="0">
                  <a:ln>
                    <a:noFill/>
                  </a:ln>
                  <a:solidFill>
                    <a:srgbClr val="000000"/>
                  </a:solidFill>
                  <a:effectLst/>
                  <a:uLnTx/>
                  <a:uFillTx/>
                  <a:latin typeface="EYInterstate Light"/>
                </a:rPr>
                <a:t>Riesgos climáticos</a:t>
              </a:r>
            </a:p>
          </p:txBody>
        </p:sp>
        <p:grpSp>
          <p:nvGrpSpPr>
            <p:cNvPr id="16" name="Group 15">
              <a:extLst>
                <a:ext uri="{FF2B5EF4-FFF2-40B4-BE49-F238E27FC236}">
                  <a16:creationId xmlns:a16="http://schemas.microsoft.com/office/drawing/2014/main" id="{485AAB0F-25EB-5294-EA6C-710787D2734C}"/>
                </a:ext>
              </a:extLst>
            </p:cNvPr>
            <p:cNvGrpSpPr/>
            <p:nvPr/>
          </p:nvGrpSpPr>
          <p:grpSpPr>
            <a:xfrm>
              <a:off x="5210779" y="6336657"/>
              <a:ext cx="386665" cy="385931"/>
              <a:chOff x="159328" y="4357278"/>
              <a:chExt cx="692925" cy="708498"/>
            </a:xfrm>
          </p:grpSpPr>
          <p:pic>
            <p:nvPicPr>
              <p:cNvPr id="18" name="Graphic 17" descr="Earth globe: Americas with solid fill">
                <a:extLst>
                  <a:ext uri="{FF2B5EF4-FFF2-40B4-BE49-F238E27FC236}">
                    <a16:creationId xmlns:a16="http://schemas.microsoft.com/office/drawing/2014/main" id="{CB1B241C-849E-456E-F616-26D71B529B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9328" y="4474856"/>
                <a:ext cx="590920" cy="590920"/>
              </a:xfrm>
              <a:prstGeom prst="rect">
                <a:avLst/>
              </a:prstGeom>
            </p:spPr>
          </p:pic>
          <p:pic>
            <p:nvPicPr>
              <p:cNvPr id="19" name="Graphic 18" descr="Thermometer with solid fill">
                <a:extLst>
                  <a:ext uri="{FF2B5EF4-FFF2-40B4-BE49-F238E27FC236}">
                    <a16:creationId xmlns:a16="http://schemas.microsoft.com/office/drawing/2014/main" id="{B571EE6D-32D2-A765-0EEE-53313D9B181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3874" y="4357277"/>
                <a:ext cx="298379" cy="298379"/>
              </a:xfrm>
              <a:prstGeom prst="rect">
                <a:avLst/>
              </a:prstGeom>
            </p:spPr>
          </p:pic>
        </p:grpSp>
        <p:pic>
          <p:nvPicPr>
            <p:cNvPr id="17" name="Graphic 16" descr="Open hand with plant outline">
              <a:extLst>
                <a:ext uri="{FF2B5EF4-FFF2-40B4-BE49-F238E27FC236}">
                  <a16:creationId xmlns:a16="http://schemas.microsoft.com/office/drawing/2014/main" id="{330F6DFA-C665-DF63-DA72-2842A8D8F5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07590" y="6354168"/>
              <a:ext cx="351654" cy="351654"/>
            </a:xfrm>
            <a:prstGeom prst="rect">
              <a:avLst/>
            </a:prstGeom>
          </p:spPr>
        </p:pic>
      </p:grpSp>
      <p:cxnSp>
        <p:nvCxnSpPr>
          <p:cNvPr id="22" name="Straight Connector 21">
            <a:extLst>
              <a:ext uri="{FF2B5EF4-FFF2-40B4-BE49-F238E27FC236}">
                <a16:creationId xmlns:a16="http://schemas.microsoft.com/office/drawing/2014/main" id="{BBACEC28-FAA4-5EF9-C1B6-5A9F01BBC243}"/>
              </a:ext>
            </a:extLst>
          </p:cNvPr>
          <p:cNvCxnSpPr>
            <a:cxnSpLocks/>
          </p:cNvCxnSpPr>
          <p:nvPr/>
        </p:nvCxnSpPr>
        <p:spPr>
          <a:xfrm flipH="1">
            <a:off x="5690045" y="6060525"/>
            <a:ext cx="654064" cy="0"/>
          </a:xfrm>
          <a:prstGeom prst="line">
            <a:avLst/>
          </a:prstGeom>
          <a:noFill/>
          <a:ln w="19050" cap="flat" cmpd="sng" algn="ctr">
            <a:solidFill>
              <a:srgbClr val="E9488B"/>
            </a:solidFill>
            <a:prstDash val="dash"/>
            <a:tailEnd type="none"/>
          </a:ln>
          <a:effectLst/>
        </p:spPr>
      </p:cxnSp>
      <p:cxnSp>
        <p:nvCxnSpPr>
          <p:cNvPr id="24" name="Straight Connector 23">
            <a:extLst>
              <a:ext uri="{FF2B5EF4-FFF2-40B4-BE49-F238E27FC236}">
                <a16:creationId xmlns:a16="http://schemas.microsoft.com/office/drawing/2014/main" id="{E8C319A0-C1F5-1C87-1DB3-6EB737BD2CE9}"/>
              </a:ext>
            </a:extLst>
          </p:cNvPr>
          <p:cNvCxnSpPr>
            <a:cxnSpLocks/>
          </p:cNvCxnSpPr>
          <p:nvPr/>
        </p:nvCxnSpPr>
        <p:spPr>
          <a:xfrm>
            <a:off x="3759646" y="3991238"/>
            <a:ext cx="0" cy="1091184"/>
          </a:xfrm>
          <a:prstGeom prst="line">
            <a:avLst/>
          </a:prstGeom>
          <a:noFill/>
          <a:ln w="19050" cap="flat" cmpd="sng" algn="ctr">
            <a:solidFill>
              <a:srgbClr val="E9488B"/>
            </a:solidFill>
            <a:prstDash val="dash"/>
            <a:tailEnd type="none"/>
          </a:ln>
          <a:effectLst/>
        </p:spPr>
      </p:cxnSp>
      <p:cxnSp>
        <p:nvCxnSpPr>
          <p:cNvPr id="25" name="Straight Connector 24">
            <a:extLst>
              <a:ext uri="{FF2B5EF4-FFF2-40B4-BE49-F238E27FC236}">
                <a16:creationId xmlns:a16="http://schemas.microsoft.com/office/drawing/2014/main" id="{F09C4EF6-B804-4D7D-28B6-FEDAC53965B1}"/>
              </a:ext>
            </a:extLst>
          </p:cNvPr>
          <p:cNvCxnSpPr>
            <a:cxnSpLocks/>
          </p:cNvCxnSpPr>
          <p:nvPr/>
        </p:nvCxnSpPr>
        <p:spPr>
          <a:xfrm flipH="1" flipV="1">
            <a:off x="6636786" y="3164639"/>
            <a:ext cx="3344166" cy="10191"/>
          </a:xfrm>
          <a:prstGeom prst="line">
            <a:avLst/>
          </a:prstGeom>
          <a:noFill/>
          <a:ln w="19050" cap="flat" cmpd="sng" algn="ctr">
            <a:solidFill>
              <a:srgbClr val="E9488B"/>
            </a:solidFill>
            <a:prstDash val="dash"/>
            <a:tailEnd type="none"/>
          </a:ln>
          <a:effectLst/>
        </p:spPr>
      </p:cxnSp>
      <p:sp>
        <p:nvSpPr>
          <p:cNvPr id="26" name="Rectangle 25">
            <a:extLst>
              <a:ext uri="{FF2B5EF4-FFF2-40B4-BE49-F238E27FC236}">
                <a16:creationId xmlns:a16="http://schemas.microsoft.com/office/drawing/2014/main" id="{FCCD6EE4-04EE-32BB-FC76-C219E40ED8F3}"/>
              </a:ext>
            </a:extLst>
          </p:cNvPr>
          <p:cNvSpPr/>
          <p:nvPr/>
        </p:nvSpPr>
        <p:spPr>
          <a:xfrm>
            <a:off x="6312059" y="5987837"/>
            <a:ext cx="45719" cy="142336"/>
          </a:xfrm>
          <a:prstGeom prst="rect">
            <a:avLst/>
          </a:prstGeom>
          <a:solidFill>
            <a:srgbClr val="E9488B"/>
          </a:solidFill>
          <a:ln w="9525" cap="flat" cmpd="sng" algn="ctr">
            <a:solidFill>
              <a:srgbClr val="E9488B"/>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B5CC9FD6-0F93-DD27-81CF-006C3AF0C50D}"/>
              </a:ext>
            </a:extLst>
          </p:cNvPr>
          <p:cNvSpPr/>
          <p:nvPr/>
        </p:nvSpPr>
        <p:spPr>
          <a:xfrm>
            <a:off x="9958092" y="3093471"/>
            <a:ext cx="45719" cy="142336"/>
          </a:xfrm>
          <a:prstGeom prst="rect">
            <a:avLst/>
          </a:prstGeom>
          <a:solidFill>
            <a:srgbClr val="E9488B"/>
          </a:solidFill>
          <a:ln w="9525" cap="flat" cmpd="sng" algn="ctr">
            <a:solidFill>
              <a:srgbClr val="E9488B"/>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dirty="0">
              <a:ln>
                <a:noFill/>
              </a:ln>
              <a:solidFill>
                <a:srgbClr val="2E2E38"/>
              </a:solidFill>
              <a:effectLst/>
              <a:uLnTx/>
              <a:uFillTx/>
              <a:latin typeface="EYInterstate Light"/>
              <a:ea typeface="+mn-ea"/>
              <a:cs typeface="+mn-cs"/>
            </a:endParaRPr>
          </a:p>
        </p:txBody>
      </p:sp>
      <p:cxnSp>
        <p:nvCxnSpPr>
          <p:cNvPr id="28" name="Straight Connector 27">
            <a:extLst>
              <a:ext uri="{FF2B5EF4-FFF2-40B4-BE49-F238E27FC236}">
                <a16:creationId xmlns:a16="http://schemas.microsoft.com/office/drawing/2014/main" id="{106F7C8D-28C7-68D1-40A9-C9371E05421A}"/>
              </a:ext>
            </a:extLst>
          </p:cNvPr>
          <p:cNvCxnSpPr>
            <a:cxnSpLocks/>
          </p:cNvCxnSpPr>
          <p:nvPr/>
        </p:nvCxnSpPr>
        <p:spPr>
          <a:xfrm flipH="1">
            <a:off x="3421716" y="5082422"/>
            <a:ext cx="316135" cy="0"/>
          </a:xfrm>
          <a:prstGeom prst="line">
            <a:avLst/>
          </a:prstGeom>
          <a:noFill/>
          <a:ln w="19050" cap="flat" cmpd="sng" algn="ctr">
            <a:solidFill>
              <a:srgbClr val="E9488B"/>
            </a:solidFill>
            <a:prstDash val="dash"/>
            <a:tailEnd type="none"/>
          </a:ln>
          <a:effectLst/>
        </p:spPr>
      </p:cxnSp>
      <p:sp>
        <p:nvSpPr>
          <p:cNvPr id="29" name="Rectangle 28">
            <a:extLst>
              <a:ext uri="{FF2B5EF4-FFF2-40B4-BE49-F238E27FC236}">
                <a16:creationId xmlns:a16="http://schemas.microsoft.com/office/drawing/2014/main" id="{F865A384-1405-B5B9-BFCD-50D3C7A63B7D}"/>
              </a:ext>
            </a:extLst>
          </p:cNvPr>
          <p:cNvSpPr/>
          <p:nvPr/>
        </p:nvSpPr>
        <p:spPr>
          <a:xfrm>
            <a:off x="3440562" y="5011254"/>
            <a:ext cx="45719" cy="142336"/>
          </a:xfrm>
          <a:prstGeom prst="rect">
            <a:avLst/>
          </a:prstGeom>
          <a:solidFill>
            <a:srgbClr val="E9488B"/>
          </a:solidFill>
          <a:ln w="9525" cap="flat" cmpd="sng" algn="ctr">
            <a:solidFill>
              <a:srgbClr val="FFE60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dirty="0">
              <a:ln>
                <a:noFill/>
              </a:ln>
              <a:solidFill>
                <a:srgbClr val="2E2E38"/>
              </a:solidFill>
              <a:effectLst/>
              <a:uLnTx/>
              <a:uFillTx/>
              <a:latin typeface="EYInterstate Light"/>
              <a:ea typeface="+mn-ea"/>
              <a:cs typeface="+mn-cs"/>
            </a:endParaRPr>
          </a:p>
        </p:txBody>
      </p:sp>
      <p:cxnSp>
        <p:nvCxnSpPr>
          <p:cNvPr id="30" name="Straight Connector 29">
            <a:extLst>
              <a:ext uri="{FF2B5EF4-FFF2-40B4-BE49-F238E27FC236}">
                <a16:creationId xmlns:a16="http://schemas.microsoft.com/office/drawing/2014/main" id="{936959B9-086F-D085-D592-797E71617817}"/>
              </a:ext>
            </a:extLst>
          </p:cNvPr>
          <p:cNvCxnSpPr>
            <a:cxnSpLocks/>
          </p:cNvCxnSpPr>
          <p:nvPr/>
        </p:nvCxnSpPr>
        <p:spPr>
          <a:xfrm flipH="1">
            <a:off x="2677895" y="3299762"/>
            <a:ext cx="1081751" cy="0"/>
          </a:xfrm>
          <a:prstGeom prst="line">
            <a:avLst/>
          </a:prstGeom>
          <a:noFill/>
          <a:ln w="19050" cap="flat" cmpd="sng" algn="ctr">
            <a:solidFill>
              <a:srgbClr val="E9488B"/>
            </a:solidFill>
            <a:prstDash val="dash"/>
            <a:tailEnd type="none"/>
          </a:ln>
          <a:effectLst/>
        </p:spPr>
      </p:cxnSp>
      <p:sp>
        <p:nvSpPr>
          <p:cNvPr id="31" name="Rectangle 30">
            <a:extLst>
              <a:ext uri="{FF2B5EF4-FFF2-40B4-BE49-F238E27FC236}">
                <a16:creationId xmlns:a16="http://schemas.microsoft.com/office/drawing/2014/main" id="{B1000AD0-1519-688A-FC3A-20533E17B0D7}"/>
              </a:ext>
            </a:extLst>
          </p:cNvPr>
          <p:cNvSpPr/>
          <p:nvPr/>
        </p:nvSpPr>
        <p:spPr>
          <a:xfrm>
            <a:off x="2677895" y="3223179"/>
            <a:ext cx="45719" cy="142336"/>
          </a:xfrm>
          <a:prstGeom prst="rect">
            <a:avLst/>
          </a:prstGeom>
          <a:solidFill>
            <a:srgbClr val="E9488B"/>
          </a:solidFill>
          <a:ln w="9525" cap="flat" cmpd="sng" algn="ctr">
            <a:solidFill>
              <a:srgbClr val="E9488B"/>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2" name="Rectangle 31">
            <a:extLst>
              <a:ext uri="{FF2B5EF4-FFF2-40B4-BE49-F238E27FC236}">
                <a16:creationId xmlns:a16="http://schemas.microsoft.com/office/drawing/2014/main" id="{520DFE8D-BBFF-6D30-F9C6-D66B326C2AEB}"/>
              </a:ext>
            </a:extLst>
          </p:cNvPr>
          <p:cNvSpPr/>
          <p:nvPr/>
        </p:nvSpPr>
        <p:spPr>
          <a:xfrm>
            <a:off x="64009" y="1222175"/>
            <a:ext cx="11878054" cy="874002"/>
          </a:xfrm>
          <a:prstGeom prst="rect">
            <a:avLst/>
          </a:prstGeom>
          <a:noFill/>
          <a:ln w="28575" cap="flat" cmpd="sng" algn="ctr">
            <a:noFill/>
            <a:prstDash val="solid"/>
          </a:ln>
          <a:effectLst/>
        </p:spPr>
        <p:txBody>
          <a:bodyPr lIns="900000" rIns="360000" rtlCol="0" anchor="ctr"/>
          <a:lstStyle/>
          <a:p>
            <a:pPr algn="just" defTabSz="913943" eaLnBrk="0" hangingPunct="0">
              <a:defRPr/>
            </a:pPr>
            <a:r>
              <a:rPr lang="en-US" sz="1400" i="1" kern="0" dirty="0">
                <a:solidFill>
                  <a:srgbClr val="5F2364"/>
                </a:solidFill>
                <a:latin typeface="Century Gothic" panose="020B0502020202020204" pitchFamily="34" charset="0"/>
                <a:cs typeface="Tahoma" pitchFamily="34" charset="0"/>
              </a:rPr>
              <a:t>L</a:t>
            </a:r>
            <a:r>
              <a:rPr lang="es-MX" sz="1400" i="1" kern="0" dirty="0">
                <a:solidFill>
                  <a:srgbClr val="5F2364"/>
                </a:solidFill>
                <a:latin typeface="Century Gothic" panose="020B0502020202020204" pitchFamily="34" charset="0"/>
                <a:cs typeface="Tahoma" pitchFamily="34" charset="0"/>
              </a:rPr>
              <a:t>as obligaciones de divulgación de información, con un enfoque en métricas climáticas y de sostenibilidad se están acelerando. Se empieza a observar la incorporación dentro de regulaciones bancarias de aspectos relacionados con riesgo climático, ambiental, etc.</a:t>
            </a:r>
          </a:p>
        </p:txBody>
      </p:sp>
    </p:spTree>
    <p:extLst>
      <p:ext uri="{BB962C8B-B14F-4D97-AF65-F5344CB8AC3E}">
        <p14:creationId xmlns:p14="http://schemas.microsoft.com/office/powerpoint/2010/main" val="2925897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4E47D-B040-3DCA-AD3D-301C9E962949}"/>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998597F0-3EA5-BFE6-56E4-5691DD73486D}"/>
              </a:ext>
            </a:extLst>
          </p:cNvPr>
          <p:cNvSpPr txBox="1"/>
          <p:nvPr/>
        </p:nvSpPr>
        <p:spPr>
          <a:xfrm>
            <a:off x="1067602" y="260997"/>
            <a:ext cx="6589523"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Derivados Climáticos</a:t>
            </a:r>
          </a:p>
        </p:txBody>
      </p:sp>
      <p:grpSp>
        <p:nvGrpSpPr>
          <p:cNvPr id="4" name="Grupo 3">
            <a:extLst>
              <a:ext uri="{FF2B5EF4-FFF2-40B4-BE49-F238E27FC236}">
                <a16:creationId xmlns:a16="http://schemas.microsoft.com/office/drawing/2014/main" id="{1FB19F56-5AED-2E88-7541-9501A92754B8}"/>
              </a:ext>
            </a:extLst>
          </p:cNvPr>
          <p:cNvGrpSpPr/>
          <p:nvPr/>
        </p:nvGrpSpPr>
        <p:grpSpPr>
          <a:xfrm>
            <a:off x="254282" y="270730"/>
            <a:ext cx="748010" cy="812393"/>
            <a:chOff x="533341" y="510112"/>
            <a:chExt cx="997346" cy="1083190"/>
          </a:xfrm>
        </p:grpSpPr>
        <p:sp>
          <p:nvSpPr>
            <p:cNvPr id="6" name="object 9">
              <a:extLst>
                <a:ext uri="{FF2B5EF4-FFF2-40B4-BE49-F238E27FC236}">
                  <a16:creationId xmlns:a16="http://schemas.microsoft.com/office/drawing/2014/main" id="{49E3C2FE-D632-24A9-5DC3-DAFDFEC0B59E}"/>
                </a:ext>
              </a:extLst>
            </p:cNvPr>
            <p:cNvSpPr/>
            <p:nvPr/>
          </p:nvSpPr>
          <p:spPr>
            <a:xfrm>
              <a:off x="53334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3" name="object 10">
              <a:extLst>
                <a:ext uri="{FF2B5EF4-FFF2-40B4-BE49-F238E27FC236}">
                  <a16:creationId xmlns:a16="http://schemas.microsoft.com/office/drawing/2014/main" id="{3A6E7434-3BA7-C51B-8E92-8D2DBEEDFECB}"/>
                </a:ext>
              </a:extLst>
            </p:cNvPr>
            <p:cNvSpPr/>
            <p:nvPr/>
          </p:nvSpPr>
          <p:spPr>
            <a:xfrm>
              <a:off x="69331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7" name="object 11">
              <a:extLst>
                <a:ext uri="{FF2B5EF4-FFF2-40B4-BE49-F238E27FC236}">
                  <a16:creationId xmlns:a16="http://schemas.microsoft.com/office/drawing/2014/main" id="{7A4926DE-41F9-F0CB-B743-0EA44FF1F47B}"/>
                </a:ext>
              </a:extLst>
            </p:cNvPr>
            <p:cNvSpPr/>
            <p:nvPr/>
          </p:nvSpPr>
          <p:spPr>
            <a:xfrm>
              <a:off x="853292"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20" name="object 12">
              <a:extLst>
                <a:ext uri="{FF2B5EF4-FFF2-40B4-BE49-F238E27FC236}">
                  <a16:creationId xmlns:a16="http://schemas.microsoft.com/office/drawing/2014/main" id="{1FBEE109-2B53-4475-4B0A-EB1D00A91A9A}"/>
                </a:ext>
              </a:extLst>
            </p:cNvPr>
            <p:cNvSpPr/>
            <p:nvPr/>
          </p:nvSpPr>
          <p:spPr>
            <a:xfrm>
              <a:off x="101328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1" name="object 13">
              <a:extLst>
                <a:ext uri="{FF2B5EF4-FFF2-40B4-BE49-F238E27FC236}">
                  <a16:creationId xmlns:a16="http://schemas.microsoft.com/office/drawing/2014/main" id="{396954B9-C6C1-719B-14FA-3D0729B23AF1}"/>
                </a:ext>
              </a:extLst>
            </p:cNvPr>
            <p:cNvSpPr/>
            <p:nvPr/>
          </p:nvSpPr>
          <p:spPr>
            <a:xfrm>
              <a:off x="533341"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3" name="object 14">
              <a:extLst>
                <a:ext uri="{FF2B5EF4-FFF2-40B4-BE49-F238E27FC236}">
                  <a16:creationId xmlns:a16="http://schemas.microsoft.com/office/drawing/2014/main" id="{C0DC1AEC-A672-9A90-078B-32CA325F0459}"/>
                </a:ext>
              </a:extLst>
            </p:cNvPr>
            <p:cNvSpPr/>
            <p:nvPr/>
          </p:nvSpPr>
          <p:spPr>
            <a:xfrm>
              <a:off x="69331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4" name="object 15">
              <a:extLst>
                <a:ext uri="{FF2B5EF4-FFF2-40B4-BE49-F238E27FC236}">
                  <a16:creationId xmlns:a16="http://schemas.microsoft.com/office/drawing/2014/main" id="{0DD97E62-37B4-2DFA-7F69-8846C7363B0B}"/>
                </a:ext>
              </a:extLst>
            </p:cNvPr>
            <p:cNvSpPr/>
            <p:nvPr/>
          </p:nvSpPr>
          <p:spPr>
            <a:xfrm>
              <a:off x="853290"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5" name="object 16">
              <a:extLst>
                <a:ext uri="{FF2B5EF4-FFF2-40B4-BE49-F238E27FC236}">
                  <a16:creationId xmlns:a16="http://schemas.microsoft.com/office/drawing/2014/main" id="{D0F6DF85-F3AD-27F1-1254-D2A8F4CCDCF8}"/>
                </a:ext>
              </a:extLst>
            </p:cNvPr>
            <p:cNvSpPr/>
            <p:nvPr/>
          </p:nvSpPr>
          <p:spPr>
            <a:xfrm>
              <a:off x="1013280"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6" name="object 17">
              <a:extLst>
                <a:ext uri="{FF2B5EF4-FFF2-40B4-BE49-F238E27FC236}">
                  <a16:creationId xmlns:a16="http://schemas.microsoft.com/office/drawing/2014/main" id="{1CEEDB38-291D-5601-A92A-A27D660BC9FE}"/>
                </a:ext>
              </a:extLst>
            </p:cNvPr>
            <p:cNvSpPr/>
            <p:nvPr/>
          </p:nvSpPr>
          <p:spPr>
            <a:xfrm>
              <a:off x="53334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7" name="object 18">
              <a:extLst>
                <a:ext uri="{FF2B5EF4-FFF2-40B4-BE49-F238E27FC236}">
                  <a16:creationId xmlns:a16="http://schemas.microsoft.com/office/drawing/2014/main" id="{1AAC45E4-FEA3-B7A2-F394-9FB02DE47881}"/>
                </a:ext>
              </a:extLst>
            </p:cNvPr>
            <p:cNvSpPr/>
            <p:nvPr/>
          </p:nvSpPr>
          <p:spPr>
            <a:xfrm>
              <a:off x="69331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8" name="object 19">
              <a:extLst>
                <a:ext uri="{FF2B5EF4-FFF2-40B4-BE49-F238E27FC236}">
                  <a16:creationId xmlns:a16="http://schemas.microsoft.com/office/drawing/2014/main" id="{408F620D-DCAB-2963-A42A-BB1118DA2CC7}"/>
                </a:ext>
              </a:extLst>
            </p:cNvPr>
            <p:cNvSpPr/>
            <p:nvPr/>
          </p:nvSpPr>
          <p:spPr>
            <a:xfrm>
              <a:off x="853292"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9" name="object 20">
              <a:extLst>
                <a:ext uri="{FF2B5EF4-FFF2-40B4-BE49-F238E27FC236}">
                  <a16:creationId xmlns:a16="http://schemas.microsoft.com/office/drawing/2014/main" id="{B26A95CC-2557-EAE4-A696-932E52B8E11F}"/>
                </a:ext>
              </a:extLst>
            </p:cNvPr>
            <p:cNvSpPr/>
            <p:nvPr/>
          </p:nvSpPr>
          <p:spPr>
            <a:xfrm>
              <a:off x="101328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0" name="object 21">
              <a:extLst>
                <a:ext uri="{FF2B5EF4-FFF2-40B4-BE49-F238E27FC236}">
                  <a16:creationId xmlns:a16="http://schemas.microsoft.com/office/drawing/2014/main" id="{BAAA3FD5-233F-4A77-1933-486FC1F7FACE}"/>
                </a:ext>
              </a:extLst>
            </p:cNvPr>
            <p:cNvSpPr/>
            <p:nvPr/>
          </p:nvSpPr>
          <p:spPr>
            <a:xfrm>
              <a:off x="53334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1" name="object 22">
              <a:extLst>
                <a:ext uri="{FF2B5EF4-FFF2-40B4-BE49-F238E27FC236}">
                  <a16:creationId xmlns:a16="http://schemas.microsoft.com/office/drawing/2014/main" id="{50A12B24-840B-8FC4-EFDD-6F116AD52879}"/>
                </a:ext>
              </a:extLst>
            </p:cNvPr>
            <p:cNvSpPr/>
            <p:nvPr/>
          </p:nvSpPr>
          <p:spPr>
            <a:xfrm>
              <a:off x="69331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2" name="object 23">
              <a:extLst>
                <a:ext uri="{FF2B5EF4-FFF2-40B4-BE49-F238E27FC236}">
                  <a16:creationId xmlns:a16="http://schemas.microsoft.com/office/drawing/2014/main" id="{979E4099-B157-8A86-D2C5-D86E8235E02F}"/>
                </a:ext>
              </a:extLst>
            </p:cNvPr>
            <p:cNvSpPr/>
            <p:nvPr/>
          </p:nvSpPr>
          <p:spPr>
            <a:xfrm>
              <a:off x="853292"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3" name="object 24">
              <a:extLst>
                <a:ext uri="{FF2B5EF4-FFF2-40B4-BE49-F238E27FC236}">
                  <a16:creationId xmlns:a16="http://schemas.microsoft.com/office/drawing/2014/main" id="{C6FFDF05-24EA-98D4-B71E-569D3D852DF4}"/>
                </a:ext>
              </a:extLst>
            </p:cNvPr>
            <p:cNvSpPr/>
            <p:nvPr/>
          </p:nvSpPr>
          <p:spPr>
            <a:xfrm>
              <a:off x="101328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4" name="object 25">
              <a:extLst>
                <a:ext uri="{FF2B5EF4-FFF2-40B4-BE49-F238E27FC236}">
                  <a16:creationId xmlns:a16="http://schemas.microsoft.com/office/drawing/2014/main" id="{6F238AE9-6CA1-1456-C6D2-9597AA770C72}"/>
                </a:ext>
              </a:extLst>
            </p:cNvPr>
            <p:cNvSpPr/>
            <p:nvPr/>
          </p:nvSpPr>
          <p:spPr>
            <a:xfrm>
              <a:off x="533341"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5" name="object 26">
              <a:extLst>
                <a:ext uri="{FF2B5EF4-FFF2-40B4-BE49-F238E27FC236}">
                  <a16:creationId xmlns:a16="http://schemas.microsoft.com/office/drawing/2014/main" id="{551165A9-D8D8-0203-8A94-9BE647F5FB48}"/>
                </a:ext>
              </a:extLst>
            </p:cNvPr>
            <p:cNvSpPr/>
            <p:nvPr/>
          </p:nvSpPr>
          <p:spPr>
            <a:xfrm>
              <a:off x="69331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6" name="object 27">
              <a:extLst>
                <a:ext uri="{FF2B5EF4-FFF2-40B4-BE49-F238E27FC236}">
                  <a16:creationId xmlns:a16="http://schemas.microsoft.com/office/drawing/2014/main" id="{A389E151-34F5-5AB7-50E8-A264D571C3F4}"/>
                </a:ext>
              </a:extLst>
            </p:cNvPr>
            <p:cNvSpPr/>
            <p:nvPr/>
          </p:nvSpPr>
          <p:spPr>
            <a:xfrm>
              <a:off x="853290"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object 28">
              <a:extLst>
                <a:ext uri="{FF2B5EF4-FFF2-40B4-BE49-F238E27FC236}">
                  <a16:creationId xmlns:a16="http://schemas.microsoft.com/office/drawing/2014/main" id="{6E3A41E2-D4CC-7242-31A0-3D8933A09953}"/>
                </a:ext>
              </a:extLst>
            </p:cNvPr>
            <p:cNvSpPr/>
            <p:nvPr/>
          </p:nvSpPr>
          <p:spPr>
            <a:xfrm>
              <a:off x="1013280"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8" name="object 29">
              <a:extLst>
                <a:ext uri="{FF2B5EF4-FFF2-40B4-BE49-F238E27FC236}">
                  <a16:creationId xmlns:a16="http://schemas.microsoft.com/office/drawing/2014/main" id="{71E57B51-E03B-A635-8AE5-22625CAA6B15}"/>
                </a:ext>
              </a:extLst>
            </p:cNvPr>
            <p:cNvSpPr/>
            <p:nvPr/>
          </p:nvSpPr>
          <p:spPr>
            <a:xfrm>
              <a:off x="53334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9" name="object 30">
              <a:extLst>
                <a:ext uri="{FF2B5EF4-FFF2-40B4-BE49-F238E27FC236}">
                  <a16:creationId xmlns:a16="http://schemas.microsoft.com/office/drawing/2014/main" id="{7A7A9FBF-D663-3788-E493-D34DEDBCD6E9}"/>
                </a:ext>
              </a:extLst>
            </p:cNvPr>
            <p:cNvSpPr/>
            <p:nvPr/>
          </p:nvSpPr>
          <p:spPr>
            <a:xfrm>
              <a:off x="69331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0" name="object 31">
              <a:extLst>
                <a:ext uri="{FF2B5EF4-FFF2-40B4-BE49-F238E27FC236}">
                  <a16:creationId xmlns:a16="http://schemas.microsoft.com/office/drawing/2014/main" id="{60D861D6-3342-9E05-B9D0-B68D1A6155A6}"/>
                </a:ext>
              </a:extLst>
            </p:cNvPr>
            <p:cNvSpPr/>
            <p:nvPr/>
          </p:nvSpPr>
          <p:spPr>
            <a:xfrm>
              <a:off x="853292"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1" name="object 32">
              <a:extLst>
                <a:ext uri="{FF2B5EF4-FFF2-40B4-BE49-F238E27FC236}">
                  <a16:creationId xmlns:a16="http://schemas.microsoft.com/office/drawing/2014/main" id="{57048432-5942-3B9D-3E8D-26C3049E9D7B}"/>
                </a:ext>
              </a:extLst>
            </p:cNvPr>
            <p:cNvSpPr/>
            <p:nvPr/>
          </p:nvSpPr>
          <p:spPr>
            <a:xfrm>
              <a:off x="101328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2" name="object 33">
              <a:extLst>
                <a:ext uri="{FF2B5EF4-FFF2-40B4-BE49-F238E27FC236}">
                  <a16:creationId xmlns:a16="http://schemas.microsoft.com/office/drawing/2014/main" id="{06CCF261-A977-81CA-E5DD-8E4B8F4E03AF}"/>
                </a:ext>
              </a:extLst>
            </p:cNvPr>
            <p:cNvSpPr/>
            <p:nvPr/>
          </p:nvSpPr>
          <p:spPr>
            <a:xfrm>
              <a:off x="53334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3" name="object 34">
              <a:extLst>
                <a:ext uri="{FF2B5EF4-FFF2-40B4-BE49-F238E27FC236}">
                  <a16:creationId xmlns:a16="http://schemas.microsoft.com/office/drawing/2014/main" id="{80E62840-B922-95CC-EC87-E46BA434B1A5}"/>
                </a:ext>
              </a:extLst>
            </p:cNvPr>
            <p:cNvSpPr/>
            <p:nvPr/>
          </p:nvSpPr>
          <p:spPr>
            <a:xfrm>
              <a:off x="69331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4" name="object 35">
              <a:extLst>
                <a:ext uri="{FF2B5EF4-FFF2-40B4-BE49-F238E27FC236}">
                  <a16:creationId xmlns:a16="http://schemas.microsoft.com/office/drawing/2014/main" id="{30DEE026-31FE-DEC8-6BD2-38F6F46402BE}"/>
                </a:ext>
              </a:extLst>
            </p:cNvPr>
            <p:cNvSpPr/>
            <p:nvPr/>
          </p:nvSpPr>
          <p:spPr>
            <a:xfrm>
              <a:off x="853292"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5" name="object 36">
              <a:extLst>
                <a:ext uri="{FF2B5EF4-FFF2-40B4-BE49-F238E27FC236}">
                  <a16:creationId xmlns:a16="http://schemas.microsoft.com/office/drawing/2014/main" id="{F6BD0AB6-647C-D26F-83A4-FAAE316A93E5}"/>
                </a:ext>
              </a:extLst>
            </p:cNvPr>
            <p:cNvSpPr/>
            <p:nvPr/>
          </p:nvSpPr>
          <p:spPr>
            <a:xfrm>
              <a:off x="101328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6" name="object 37">
              <a:extLst>
                <a:ext uri="{FF2B5EF4-FFF2-40B4-BE49-F238E27FC236}">
                  <a16:creationId xmlns:a16="http://schemas.microsoft.com/office/drawing/2014/main" id="{21BAAC5B-4675-5398-B44A-4823D3EE5F51}"/>
                </a:ext>
              </a:extLst>
            </p:cNvPr>
            <p:cNvSpPr/>
            <p:nvPr/>
          </p:nvSpPr>
          <p:spPr>
            <a:xfrm>
              <a:off x="533341"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7" name="object 38">
              <a:extLst>
                <a:ext uri="{FF2B5EF4-FFF2-40B4-BE49-F238E27FC236}">
                  <a16:creationId xmlns:a16="http://schemas.microsoft.com/office/drawing/2014/main" id="{2C8F5C79-9594-03E7-1F92-B702068F13E8}"/>
                </a:ext>
              </a:extLst>
            </p:cNvPr>
            <p:cNvSpPr/>
            <p:nvPr/>
          </p:nvSpPr>
          <p:spPr>
            <a:xfrm>
              <a:off x="69331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object 39">
              <a:extLst>
                <a:ext uri="{FF2B5EF4-FFF2-40B4-BE49-F238E27FC236}">
                  <a16:creationId xmlns:a16="http://schemas.microsoft.com/office/drawing/2014/main" id="{4B5372D8-AE32-B9B8-C02D-AECCE2BA3A25}"/>
                </a:ext>
              </a:extLst>
            </p:cNvPr>
            <p:cNvSpPr/>
            <p:nvPr/>
          </p:nvSpPr>
          <p:spPr>
            <a:xfrm>
              <a:off x="853290"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9" name="object 40">
              <a:extLst>
                <a:ext uri="{FF2B5EF4-FFF2-40B4-BE49-F238E27FC236}">
                  <a16:creationId xmlns:a16="http://schemas.microsoft.com/office/drawing/2014/main" id="{D3A3EA16-F968-22C5-A03D-791EE0B5D391}"/>
                </a:ext>
              </a:extLst>
            </p:cNvPr>
            <p:cNvSpPr/>
            <p:nvPr/>
          </p:nvSpPr>
          <p:spPr>
            <a:xfrm>
              <a:off x="1013280"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0" name="object 41">
              <a:extLst>
                <a:ext uri="{FF2B5EF4-FFF2-40B4-BE49-F238E27FC236}">
                  <a16:creationId xmlns:a16="http://schemas.microsoft.com/office/drawing/2014/main" id="{8AA98C95-1D29-89BB-68F5-1DF00CB53ECB}"/>
                </a:ext>
              </a:extLst>
            </p:cNvPr>
            <p:cNvSpPr/>
            <p:nvPr/>
          </p:nvSpPr>
          <p:spPr>
            <a:xfrm>
              <a:off x="101328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1" name="object 42">
              <a:extLst>
                <a:ext uri="{FF2B5EF4-FFF2-40B4-BE49-F238E27FC236}">
                  <a16:creationId xmlns:a16="http://schemas.microsoft.com/office/drawing/2014/main" id="{73B08CCA-8F6F-6834-209B-FEE42110D706}"/>
                </a:ext>
              </a:extLst>
            </p:cNvPr>
            <p:cNvSpPr/>
            <p:nvPr/>
          </p:nvSpPr>
          <p:spPr>
            <a:xfrm>
              <a:off x="117325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2" name="object 43">
              <a:extLst>
                <a:ext uri="{FF2B5EF4-FFF2-40B4-BE49-F238E27FC236}">
                  <a16:creationId xmlns:a16="http://schemas.microsoft.com/office/drawing/2014/main" id="{5FA31578-0E85-4513-AED6-73C2C9EBB240}"/>
                </a:ext>
              </a:extLst>
            </p:cNvPr>
            <p:cNvSpPr/>
            <p:nvPr/>
          </p:nvSpPr>
          <p:spPr>
            <a:xfrm>
              <a:off x="1333233"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3" name="object 44">
              <a:extLst>
                <a:ext uri="{FF2B5EF4-FFF2-40B4-BE49-F238E27FC236}">
                  <a16:creationId xmlns:a16="http://schemas.microsoft.com/office/drawing/2014/main" id="{6123B4BF-114A-5543-EFDF-C07786FDFCCF}"/>
                </a:ext>
              </a:extLst>
            </p:cNvPr>
            <p:cNvSpPr/>
            <p:nvPr/>
          </p:nvSpPr>
          <p:spPr>
            <a:xfrm>
              <a:off x="149322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4" name="object 45">
              <a:extLst>
                <a:ext uri="{FF2B5EF4-FFF2-40B4-BE49-F238E27FC236}">
                  <a16:creationId xmlns:a16="http://schemas.microsoft.com/office/drawing/2014/main" id="{60BB4442-58DF-D278-0EEF-248B57390B96}"/>
                </a:ext>
              </a:extLst>
            </p:cNvPr>
            <p:cNvSpPr/>
            <p:nvPr/>
          </p:nvSpPr>
          <p:spPr>
            <a:xfrm>
              <a:off x="1013280"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5" name="object 46">
              <a:extLst>
                <a:ext uri="{FF2B5EF4-FFF2-40B4-BE49-F238E27FC236}">
                  <a16:creationId xmlns:a16="http://schemas.microsoft.com/office/drawing/2014/main" id="{84C7DE4B-A8EF-EA29-2E2F-633A4C378806}"/>
                </a:ext>
              </a:extLst>
            </p:cNvPr>
            <p:cNvSpPr/>
            <p:nvPr/>
          </p:nvSpPr>
          <p:spPr>
            <a:xfrm>
              <a:off x="117325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6" name="object 47">
              <a:extLst>
                <a:ext uri="{FF2B5EF4-FFF2-40B4-BE49-F238E27FC236}">
                  <a16:creationId xmlns:a16="http://schemas.microsoft.com/office/drawing/2014/main" id="{A2DCF317-A5B7-F43B-7A72-67FF995A0395}"/>
                </a:ext>
              </a:extLst>
            </p:cNvPr>
            <p:cNvSpPr/>
            <p:nvPr/>
          </p:nvSpPr>
          <p:spPr>
            <a:xfrm>
              <a:off x="1333231"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7" name="object 48">
              <a:extLst>
                <a:ext uri="{FF2B5EF4-FFF2-40B4-BE49-F238E27FC236}">
                  <a16:creationId xmlns:a16="http://schemas.microsoft.com/office/drawing/2014/main" id="{BDCBF280-73C2-9329-34F9-BA83E9EC3CC9}"/>
                </a:ext>
              </a:extLst>
            </p:cNvPr>
            <p:cNvSpPr/>
            <p:nvPr/>
          </p:nvSpPr>
          <p:spPr>
            <a:xfrm>
              <a:off x="1493221"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8" name="object 49">
              <a:extLst>
                <a:ext uri="{FF2B5EF4-FFF2-40B4-BE49-F238E27FC236}">
                  <a16:creationId xmlns:a16="http://schemas.microsoft.com/office/drawing/2014/main" id="{450CA34A-2D58-C58A-29C1-67700A4D2E78}"/>
                </a:ext>
              </a:extLst>
            </p:cNvPr>
            <p:cNvSpPr/>
            <p:nvPr/>
          </p:nvSpPr>
          <p:spPr>
            <a:xfrm>
              <a:off x="101328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9" name="object 50">
              <a:extLst>
                <a:ext uri="{FF2B5EF4-FFF2-40B4-BE49-F238E27FC236}">
                  <a16:creationId xmlns:a16="http://schemas.microsoft.com/office/drawing/2014/main" id="{A868797A-39E4-20FE-8457-09ADE9B372A8}"/>
                </a:ext>
              </a:extLst>
            </p:cNvPr>
            <p:cNvSpPr/>
            <p:nvPr/>
          </p:nvSpPr>
          <p:spPr>
            <a:xfrm>
              <a:off x="117325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0" name="object 51">
              <a:extLst>
                <a:ext uri="{FF2B5EF4-FFF2-40B4-BE49-F238E27FC236}">
                  <a16:creationId xmlns:a16="http://schemas.microsoft.com/office/drawing/2014/main" id="{19F873BE-67D4-4D8A-A2D1-D76D40087AD0}"/>
                </a:ext>
              </a:extLst>
            </p:cNvPr>
            <p:cNvSpPr/>
            <p:nvPr/>
          </p:nvSpPr>
          <p:spPr>
            <a:xfrm>
              <a:off x="1333233"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1" name="object 52">
              <a:extLst>
                <a:ext uri="{FF2B5EF4-FFF2-40B4-BE49-F238E27FC236}">
                  <a16:creationId xmlns:a16="http://schemas.microsoft.com/office/drawing/2014/main" id="{43CFA8D9-B17C-991A-777D-6CCA18F3D1DF}"/>
                </a:ext>
              </a:extLst>
            </p:cNvPr>
            <p:cNvSpPr/>
            <p:nvPr/>
          </p:nvSpPr>
          <p:spPr>
            <a:xfrm>
              <a:off x="149322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2" name="object 53">
              <a:extLst>
                <a:ext uri="{FF2B5EF4-FFF2-40B4-BE49-F238E27FC236}">
                  <a16:creationId xmlns:a16="http://schemas.microsoft.com/office/drawing/2014/main" id="{DBF1AA9E-2D4C-79EF-EBD3-B172B988DCEB}"/>
                </a:ext>
              </a:extLst>
            </p:cNvPr>
            <p:cNvSpPr/>
            <p:nvPr/>
          </p:nvSpPr>
          <p:spPr>
            <a:xfrm>
              <a:off x="101328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3" name="object 54">
              <a:extLst>
                <a:ext uri="{FF2B5EF4-FFF2-40B4-BE49-F238E27FC236}">
                  <a16:creationId xmlns:a16="http://schemas.microsoft.com/office/drawing/2014/main" id="{EEA14299-DAE1-AA4B-DDF4-EB1F2E1774DA}"/>
                </a:ext>
              </a:extLst>
            </p:cNvPr>
            <p:cNvSpPr/>
            <p:nvPr/>
          </p:nvSpPr>
          <p:spPr>
            <a:xfrm>
              <a:off x="117325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4" name="object 55">
              <a:extLst>
                <a:ext uri="{FF2B5EF4-FFF2-40B4-BE49-F238E27FC236}">
                  <a16:creationId xmlns:a16="http://schemas.microsoft.com/office/drawing/2014/main" id="{157D3EB6-92E4-1AC9-1D75-51E4A354E8A1}"/>
                </a:ext>
              </a:extLst>
            </p:cNvPr>
            <p:cNvSpPr/>
            <p:nvPr/>
          </p:nvSpPr>
          <p:spPr>
            <a:xfrm>
              <a:off x="1333233"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5" name="object 56">
              <a:extLst>
                <a:ext uri="{FF2B5EF4-FFF2-40B4-BE49-F238E27FC236}">
                  <a16:creationId xmlns:a16="http://schemas.microsoft.com/office/drawing/2014/main" id="{96D0D5B0-4578-252D-C778-6775567E01A6}"/>
                </a:ext>
              </a:extLst>
            </p:cNvPr>
            <p:cNvSpPr/>
            <p:nvPr/>
          </p:nvSpPr>
          <p:spPr>
            <a:xfrm>
              <a:off x="149322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6" name="object 57">
              <a:extLst>
                <a:ext uri="{FF2B5EF4-FFF2-40B4-BE49-F238E27FC236}">
                  <a16:creationId xmlns:a16="http://schemas.microsoft.com/office/drawing/2014/main" id="{2DA69B9D-AA6D-DF4C-ADC4-EC97BA5A7CF1}"/>
                </a:ext>
              </a:extLst>
            </p:cNvPr>
            <p:cNvSpPr/>
            <p:nvPr/>
          </p:nvSpPr>
          <p:spPr>
            <a:xfrm>
              <a:off x="1013280"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7" name="object 58">
              <a:extLst>
                <a:ext uri="{FF2B5EF4-FFF2-40B4-BE49-F238E27FC236}">
                  <a16:creationId xmlns:a16="http://schemas.microsoft.com/office/drawing/2014/main" id="{8AE134B0-8083-440E-6196-6DCB46838CAC}"/>
                </a:ext>
              </a:extLst>
            </p:cNvPr>
            <p:cNvSpPr/>
            <p:nvPr/>
          </p:nvSpPr>
          <p:spPr>
            <a:xfrm>
              <a:off x="117325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8" name="object 59">
              <a:extLst>
                <a:ext uri="{FF2B5EF4-FFF2-40B4-BE49-F238E27FC236}">
                  <a16:creationId xmlns:a16="http://schemas.microsoft.com/office/drawing/2014/main" id="{30DCAF88-E7BB-0306-F37C-726E1817BC28}"/>
                </a:ext>
              </a:extLst>
            </p:cNvPr>
            <p:cNvSpPr/>
            <p:nvPr/>
          </p:nvSpPr>
          <p:spPr>
            <a:xfrm>
              <a:off x="1333231"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9" name="object 60">
              <a:extLst>
                <a:ext uri="{FF2B5EF4-FFF2-40B4-BE49-F238E27FC236}">
                  <a16:creationId xmlns:a16="http://schemas.microsoft.com/office/drawing/2014/main" id="{36C8E579-1839-3813-EA77-7AAA75C011DE}"/>
                </a:ext>
              </a:extLst>
            </p:cNvPr>
            <p:cNvSpPr/>
            <p:nvPr/>
          </p:nvSpPr>
          <p:spPr>
            <a:xfrm>
              <a:off x="1493221"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0" name="object 61">
              <a:extLst>
                <a:ext uri="{FF2B5EF4-FFF2-40B4-BE49-F238E27FC236}">
                  <a16:creationId xmlns:a16="http://schemas.microsoft.com/office/drawing/2014/main" id="{5A1FE623-7FC6-34EB-8B5E-2E3FB7FC4BA5}"/>
                </a:ext>
              </a:extLst>
            </p:cNvPr>
            <p:cNvSpPr/>
            <p:nvPr/>
          </p:nvSpPr>
          <p:spPr>
            <a:xfrm>
              <a:off x="101328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1" name="object 62">
              <a:extLst>
                <a:ext uri="{FF2B5EF4-FFF2-40B4-BE49-F238E27FC236}">
                  <a16:creationId xmlns:a16="http://schemas.microsoft.com/office/drawing/2014/main" id="{604F1718-E69E-6120-666F-F49961EEDF3F}"/>
                </a:ext>
              </a:extLst>
            </p:cNvPr>
            <p:cNvSpPr/>
            <p:nvPr/>
          </p:nvSpPr>
          <p:spPr>
            <a:xfrm>
              <a:off x="117325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2" name="object 63">
              <a:extLst>
                <a:ext uri="{FF2B5EF4-FFF2-40B4-BE49-F238E27FC236}">
                  <a16:creationId xmlns:a16="http://schemas.microsoft.com/office/drawing/2014/main" id="{34ABB2DB-EC56-6064-79C2-C255B0A501FF}"/>
                </a:ext>
              </a:extLst>
            </p:cNvPr>
            <p:cNvSpPr/>
            <p:nvPr/>
          </p:nvSpPr>
          <p:spPr>
            <a:xfrm>
              <a:off x="1333233"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3" name="object 64">
              <a:extLst>
                <a:ext uri="{FF2B5EF4-FFF2-40B4-BE49-F238E27FC236}">
                  <a16:creationId xmlns:a16="http://schemas.microsoft.com/office/drawing/2014/main" id="{4136D3E0-1C10-E513-F312-BFEC60799619}"/>
                </a:ext>
              </a:extLst>
            </p:cNvPr>
            <p:cNvSpPr/>
            <p:nvPr/>
          </p:nvSpPr>
          <p:spPr>
            <a:xfrm>
              <a:off x="149322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4" name="object 65">
              <a:extLst>
                <a:ext uri="{FF2B5EF4-FFF2-40B4-BE49-F238E27FC236}">
                  <a16:creationId xmlns:a16="http://schemas.microsoft.com/office/drawing/2014/main" id="{5951B620-E549-63C7-47AE-1528A341AC84}"/>
                </a:ext>
              </a:extLst>
            </p:cNvPr>
            <p:cNvSpPr/>
            <p:nvPr/>
          </p:nvSpPr>
          <p:spPr>
            <a:xfrm>
              <a:off x="101328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5" name="object 66">
              <a:extLst>
                <a:ext uri="{FF2B5EF4-FFF2-40B4-BE49-F238E27FC236}">
                  <a16:creationId xmlns:a16="http://schemas.microsoft.com/office/drawing/2014/main" id="{5122389F-2EC0-8F86-639E-61781014BB90}"/>
                </a:ext>
              </a:extLst>
            </p:cNvPr>
            <p:cNvSpPr/>
            <p:nvPr/>
          </p:nvSpPr>
          <p:spPr>
            <a:xfrm>
              <a:off x="117325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6" name="object 67">
              <a:extLst>
                <a:ext uri="{FF2B5EF4-FFF2-40B4-BE49-F238E27FC236}">
                  <a16:creationId xmlns:a16="http://schemas.microsoft.com/office/drawing/2014/main" id="{D3BABC9D-CCB8-7A23-1D20-E5FD30796D3D}"/>
                </a:ext>
              </a:extLst>
            </p:cNvPr>
            <p:cNvSpPr/>
            <p:nvPr/>
          </p:nvSpPr>
          <p:spPr>
            <a:xfrm>
              <a:off x="1333233"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7" name="object 68">
              <a:extLst>
                <a:ext uri="{FF2B5EF4-FFF2-40B4-BE49-F238E27FC236}">
                  <a16:creationId xmlns:a16="http://schemas.microsoft.com/office/drawing/2014/main" id="{6FF716DB-4A1E-AFDD-C08E-F8B77C9ABB58}"/>
                </a:ext>
              </a:extLst>
            </p:cNvPr>
            <p:cNvSpPr/>
            <p:nvPr/>
          </p:nvSpPr>
          <p:spPr>
            <a:xfrm>
              <a:off x="149322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8" name="object 69">
              <a:extLst>
                <a:ext uri="{FF2B5EF4-FFF2-40B4-BE49-F238E27FC236}">
                  <a16:creationId xmlns:a16="http://schemas.microsoft.com/office/drawing/2014/main" id="{5F70A07E-13E3-7776-084E-A0963EEFCD06}"/>
                </a:ext>
              </a:extLst>
            </p:cNvPr>
            <p:cNvSpPr/>
            <p:nvPr/>
          </p:nvSpPr>
          <p:spPr>
            <a:xfrm>
              <a:off x="1013280"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9" name="object 70">
              <a:extLst>
                <a:ext uri="{FF2B5EF4-FFF2-40B4-BE49-F238E27FC236}">
                  <a16:creationId xmlns:a16="http://schemas.microsoft.com/office/drawing/2014/main" id="{8541E30A-965C-D625-072E-E43BD79F3B63}"/>
                </a:ext>
              </a:extLst>
            </p:cNvPr>
            <p:cNvSpPr/>
            <p:nvPr/>
          </p:nvSpPr>
          <p:spPr>
            <a:xfrm>
              <a:off x="117325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0" name="object 71">
              <a:extLst>
                <a:ext uri="{FF2B5EF4-FFF2-40B4-BE49-F238E27FC236}">
                  <a16:creationId xmlns:a16="http://schemas.microsoft.com/office/drawing/2014/main" id="{D26A495B-6469-D280-3180-D98DD573814E}"/>
                </a:ext>
              </a:extLst>
            </p:cNvPr>
            <p:cNvSpPr/>
            <p:nvPr/>
          </p:nvSpPr>
          <p:spPr>
            <a:xfrm>
              <a:off x="1333231"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1" name="object 72">
              <a:extLst>
                <a:ext uri="{FF2B5EF4-FFF2-40B4-BE49-F238E27FC236}">
                  <a16:creationId xmlns:a16="http://schemas.microsoft.com/office/drawing/2014/main" id="{49DEF6FF-C9B3-CA2D-0B8E-671EEFDFEA0A}"/>
                </a:ext>
              </a:extLst>
            </p:cNvPr>
            <p:cNvSpPr/>
            <p:nvPr/>
          </p:nvSpPr>
          <p:spPr>
            <a:xfrm>
              <a:off x="1493221"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grpSp>
      <p:sp>
        <p:nvSpPr>
          <p:cNvPr id="92" name="object 6">
            <a:extLst>
              <a:ext uri="{FF2B5EF4-FFF2-40B4-BE49-F238E27FC236}">
                <a16:creationId xmlns:a16="http://schemas.microsoft.com/office/drawing/2014/main" id="{013A03BC-E2CE-011D-5AB4-B843E2633205}"/>
              </a:ext>
            </a:extLst>
          </p:cNvPr>
          <p:cNvSpPr/>
          <p:nvPr/>
        </p:nvSpPr>
        <p:spPr>
          <a:xfrm>
            <a:off x="0" y="0"/>
            <a:ext cx="778669" cy="787718"/>
          </a:xfrm>
          <a:custGeom>
            <a:avLst/>
            <a:gdLst/>
            <a:ahLst/>
            <a:cxnLst/>
            <a:rect l="l" t="t" r="r" b="b"/>
            <a:pathLst>
              <a:path w="1038225" h="1050290">
                <a:moveTo>
                  <a:pt x="1036748" y="0"/>
                </a:moveTo>
                <a:lnTo>
                  <a:pt x="0" y="0"/>
                </a:lnTo>
                <a:lnTo>
                  <a:pt x="0" y="1049691"/>
                </a:lnTo>
                <a:lnTo>
                  <a:pt x="9282" y="1050066"/>
                </a:lnTo>
                <a:lnTo>
                  <a:pt x="93623" y="1046657"/>
                </a:lnTo>
                <a:lnTo>
                  <a:pt x="176086" y="1036606"/>
                </a:lnTo>
                <a:lnTo>
                  <a:pt x="256407" y="1020179"/>
                </a:lnTo>
                <a:lnTo>
                  <a:pt x="334320" y="997639"/>
                </a:lnTo>
                <a:lnTo>
                  <a:pt x="409562" y="969252"/>
                </a:lnTo>
                <a:lnTo>
                  <a:pt x="481868" y="935282"/>
                </a:lnTo>
                <a:lnTo>
                  <a:pt x="550972" y="895994"/>
                </a:lnTo>
                <a:lnTo>
                  <a:pt x="616611" y="851653"/>
                </a:lnTo>
                <a:lnTo>
                  <a:pt x="678520" y="802522"/>
                </a:lnTo>
                <a:lnTo>
                  <a:pt x="736433" y="748868"/>
                </a:lnTo>
                <a:lnTo>
                  <a:pt x="790087" y="690954"/>
                </a:lnTo>
                <a:lnTo>
                  <a:pt x="839217" y="629045"/>
                </a:lnTo>
                <a:lnTo>
                  <a:pt x="883558" y="563406"/>
                </a:lnTo>
                <a:lnTo>
                  <a:pt x="922845" y="494302"/>
                </a:lnTo>
                <a:lnTo>
                  <a:pt x="956815" y="421996"/>
                </a:lnTo>
                <a:lnTo>
                  <a:pt x="985201" y="346755"/>
                </a:lnTo>
                <a:lnTo>
                  <a:pt x="1007740" y="268842"/>
                </a:lnTo>
                <a:lnTo>
                  <a:pt x="1024167" y="188522"/>
                </a:lnTo>
                <a:lnTo>
                  <a:pt x="1034217" y="106061"/>
                </a:lnTo>
                <a:lnTo>
                  <a:pt x="1037626" y="21721"/>
                </a:lnTo>
                <a:lnTo>
                  <a:pt x="1036748" y="0"/>
                </a:lnTo>
              </a:path>
            </a:pathLst>
          </a:custGeom>
          <a:solidFill>
            <a:srgbClr val="5F2364"/>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97">
            <a:extLst>
              <a:ext uri="{FF2B5EF4-FFF2-40B4-BE49-F238E27FC236}">
                <a16:creationId xmlns:a16="http://schemas.microsoft.com/office/drawing/2014/main" id="{B6612E80-87B6-7648-04F0-C08A3DA9BF4F}"/>
              </a:ext>
            </a:extLst>
          </p:cNvPr>
          <p:cNvSpPr/>
          <p:nvPr/>
        </p:nvSpPr>
        <p:spPr>
          <a:xfrm flipV="1">
            <a:off x="1165919" y="758659"/>
            <a:ext cx="4915624" cy="45719"/>
          </a:xfrm>
          <a:custGeom>
            <a:avLst/>
            <a:gdLst/>
            <a:ahLst/>
            <a:cxnLst/>
            <a:rect l="l" t="t" r="r" b="b"/>
            <a:pathLst>
              <a:path w="3352800">
                <a:moveTo>
                  <a:pt x="0" y="0"/>
                </a:moveTo>
                <a:lnTo>
                  <a:pt x="3352800" y="0"/>
                </a:lnTo>
              </a:path>
            </a:pathLst>
          </a:custGeom>
          <a:ln w="50800">
            <a:solidFill>
              <a:schemeClr val="accent5">
                <a:lumMod val="50000"/>
              </a:schemeClr>
            </a:solidFill>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 name="object 2">
            <a:extLst>
              <a:ext uri="{FF2B5EF4-FFF2-40B4-BE49-F238E27FC236}">
                <a16:creationId xmlns:a16="http://schemas.microsoft.com/office/drawing/2014/main" id="{F85EA8F7-B26F-E2EB-EAD2-74A0C690E851}"/>
              </a:ext>
            </a:extLst>
          </p:cNvPr>
          <p:cNvSpPr/>
          <p:nvPr/>
        </p:nvSpPr>
        <p:spPr>
          <a:xfrm>
            <a:off x="8961780" y="1"/>
            <a:ext cx="1484948" cy="966311"/>
          </a:xfrm>
          <a:custGeom>
            <a:avLst/>
            <a:gdLst/>
            <a:ahLst/>
            <a:cxnLst/>
            <a:rect l="l" t="t" r="r" b="b"/>
            <a:pathLst>
              <a:path w="1979930" h="1288415">
                <a:moveTo>
                  <a:pt x="596671" y="0"/>
                </a:moveTo>
                <a:lnTo>
                  <a:pt x="142598" y="454076"/>
                </a:lnTo>
                <a:lnTo>
                  <a:pt x="115505" y="483471"/>
                </a:lnTo>
                <a:lnTo>
                  <a:pt x="91263" y="514499"/>
                </a:lnTo>
                <a:lnTo>
                  <a:pt x="69873" y="546979"/>
                </a:lnTo>
                <a:lnTo>
                  <a:pt x="51335" y="580730"/>
                </a:lnTo>
                <a:lnTo>
                  <a:pt x="35649" y="615570"/>
                </a:lnTo>
                <a:lnTo>
                  <a:pt x="12833" y="687791"/>
                </a:lnTo>
                <a:lnTo>
                  <a:pt x="1425" y="762190"/>
                </a:lnTo>
                <a:lnTo>
                  <a:pt x="0" y="799752"/>
                </a:lnTo>
                <a:lnTo>
                  <a:pt x="1425" y="837315"/>
                </a:lnTo>
                <a:lnTo>
                  <a:pt x="12833" y="911714"/>
                </a:lnTo>
                <a:lnTo>
                  <a:pt x="35649" y="983936"/>
                </a:lnTo>
                <a:lnTo>
                  <a:pt x="51335" y="1018777"/>
                </a:lnTo>
                <a:lnTo>
                  <a:pt x="69873" y="1052529"/>
                </a:lnTo>
                <a:lnTo>
                  <a:pt x="91263" y="1085011"/>
                </a:lnTo>
                <a:lnTo>
                  <a:pt x="115505" y="1116041"/>
                </a:lnTo>
                <a:lnTo>
                  <a:pt x="142598" y="1145438"/>
                </a:lnTo>
                <a:lnTo>
                  <a:pt x="171995" y="1172532"/>
                </a:lnTo>
                <a:lnTo>
                  <a:pt x="203025" y="1196774"/>
                </a:lnTo>
                <a:lnTo>
                  <a:pt x="235507" y="1218163"/>
                </a:lnTo>
                <a:lnTo>
                  <a:pt x="269259" y="1236701"/>
                </a:lnTo>
                <a:lnTo>
                  <a:pt x="304100" y="1252387"/>
                </a:lnTo>
                <a:lnTo>
                  <a:pt x="376322" y="1275203"/>
                </a:lnTo>
                <a:lnTo>
                  <a:pt x="450722" y="1286611"/>
                </a:lnTo>
                <a:lnTo>
                  <a:pt x="488284" y="1288037"/>
                </a:lnTo>
                <a:lnTo>
                  <a:pt x="525847" y="1286611"/>
                </a:lnTo>
                <a:lnTo>
                  <a:pt x="600246" y="1275203"/>
                </a:lnTo>
                <a:lnTo>
                  <a:pt x="672466" y="1252387"/>
                </a:lnTo>
                <a:lnTo>
                  <a:pt x="707306" y="1236701"/>
                </a:lnTo>
                <a:lnTo>
                  <a:pt x="741057" y="1218163"/>
                </a:lnTo>
                <a:lnTo>
                  <a:pt x="773537" y="1196774"/>
                </a:lnTo>
                <a:lnTo>
                  <a:pt x="804566" y="1172532"/>
                </a:lnTo>
                <a:lnTo>
                  <a:pt x="833961" y="1145438"/>
                </a:lnTo>
                <a:lnTo>
                  <a:pt x="1979399" y="0"/>
                </a:lnTo>
                <a:lnTo>
                  <a:pt x="596671" y="0"/>
                </a:lnTo>
              </a:path>
            </a:pathLst>
          </a:custGeom>
          <a:solidFill>
            <a:srgbClr val="FFFFFF"/>
          </a:solidFill>
          <a:effectLst>
            <a:outerShdw blurRad="317500" dist="50800" dir="5400000" algn="ctr" rotWithShape="0">
              <a:schemeClr val="tx1">
                <a:alpha val="20000"/>
              </a:schemeClr>
            </a:outerShdw>
          </a:effectLst>
        </p:spPr>
        <p:txBody>
          <a:bodyPr wrap="square" lIns="0" tIns="0" rIns="0" bIns="0" rtlCol="0"/>
          <a:lstStyle/>
          <a:p>
            <a:endParaRPr sz="1350"/>
          </a:p>
        </p:txBody>
      </p:sp>
      <p:sp>
        <p:nvSpPr>
          <p:cNvPr id="3" name="Rectangle 2">
            <a:extLst>
              <a:ext uri="{FF2B5EF4-FFF2-40B4-BE49-F238E27FC236}">
                <a16:creationId xmlns:a16="http://schemas.microsoft.com/office/drawing/2014/main" id="{E3565BE1-455F-9FD2-FBF3-B5DBDA5F0CEF}"/>
              </a:ext>
            </a:extLst>
          </p:cNvPr>
          <p:cNvSpPr/>
          <p:nvPr/>
        </p:nvSpPr>
        <p:spPr>
          <a:xfrm>
            <a:off x="469286" y="1422898"/>
            <a:ext cx="11372189" cy="874002"/>
          </a:xfrm>
          <a:prstGeom prst="rect">
            <a:avLst/>
          </a:prstGeom>
          <a:noFill/>
          <a:ln w="28575" cap="flat" cmpd="sng" algn="ctr">
            <a:noFill/>
            <a:prstDash val="solid"/>
          </a:ln>
          <a:effectLst/>
        </p:spPr>
        <p:txBody>
          <a:bodyPr lIns="900000" rIns="360000" rtlCol="0" anchor="ctr"/>
          <a:lstStyle/>
          <a:p>
            <a:pPr algn="just"/>
            <a:r>
              <a:rPr lang="es-MX" sz="1400" i="1" kern="0" dirty="0">
                <a:solidFill>
                  <a:srgbClr val="5F2364"/>
                </a:solidFill>
                <a:latin typeface="Century Gothic" panose="020B0502020202020204" pitchFamily="34" charset="0"/>
                <a:cs typeface="Tahoma" pitchFamily="34" charset="0"/>
              </a:rPr>
              <a:t>En un mundo donde los patrones meteorológicos cambian con rapidez y frecuencia, las empresas buscan soluciones innovadoras. Los derivados climáticos se presentan como una alternativa eficaz para mitigar el impacto económico de eventos extremos. Esta herramienta financiera permite afrontar la volatilidad climática creciente y otorgar previsibilidad, incluso en entornos hostiles o impredecibles</a:t>
            </a:r>
            <a:r>
              <a:rPr lang="es-MX" dirty="0"/>
              <a:t>.</a:t>
            </a:r>
          </a:p>
        </p:txBody>
      </p:sp>
      <p:sp>
        <p:nvSpPr>
          <p:cNvPr id="8" name="Content Placeholder 4">
            <a:extLst>
              <a:ext uri="{FF2B5EF4-FFF2-40B4-BE49-F238E27FC236}">
                <a16:creationId xmlns:a16="http://schemas.microsoft.com/office/drawing/2014/main" id="{35D29BC6-CF8C-0F13-6BF8-CF2E3AECCB65}"/>
              </a:ext>
            </a:extLst>
          </p:cNvPr>
          <p:cNvSpPr txBox="1">
            <a:spLocks/>
          </p:cNvSpPr>
          <p:nvPr/>
        </p:nvSpPr>
        <p:spPr>
          <a:xfrm>
            <a:off x="5875855" y="2521929"/>
            <a:ext cx="5063490" cy="3866002"/>
          </a:xfrm>
          <a:prstGeom prst="rect">
            <a:avLst/>
          </a:prstGeom>
        </p:spPr>
        <p:txBody>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s-ES" sz="2000" b="1" i="0" u="none" strike="noStrike" kern="1200" cap="none" spc="0" normalizeH="0" baseline="0" noProof="0" dirty="0">
                <a:ln>
                  <a:noFill/>
                </a:ln>
                <a:solidFill>
                  <a:srgbClr val="27ACAA"/>
                </a:solidFill>
                <a:effectLst/>
                <a:uLnTx/>
                <a:uFillTx/>
                <a:latin typeface="Century Gothic" panose="020B0502020202020204" pitchFamily="34" charset="0"/>
              </a:rPr>
              <a:t>Características y usos</a:t>
            </a:r>
            <a:endParaRPr kumimoji="0" lang="es-ES" sz="2000" b="1" i="0" u="none" strike="noStrike" kern="1200" cap="none" spc="0" normalizeH="0" baseline="0" noProof="0" dirty="0">
              <a:ln>
                <a:noFill/>
              </a:ln>
              <a:solidFill>
                <a:srgbClr val="5F2364"/>
              </a:solidFill>
              <a:effectLst/>
              <a:uLnTx/>
              <a:uFillTx/>
              <a:latin typeface="Century Gothic" panose="020B0502020202020204" pitchFamily="34" charset="0"/>
            </a:endParaRPr>
          </a:p>
          <a:p>
            <a:pPr marL="0" marR="0" lvl="0" indent="0"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s-ES" sz="1400" b="0" i="0" u="none" strike="noStrike" kern="1200" cap="none" spc="0" normalizeH="0" baseline="0" noProof="0" dirty="0">
              <a:ln>
                <a:noFill/>
              </a:ln>
              <a:solidFill>
                <a:prstClr val="white"/>
              </a:solidFill>
              <a:effectLst/>
              <a:uLnTx/>
              <a:uFillTx/>
              <a:latin typeface="Century Gothic" panose="020B0502020202020204" pitchFamily="34" charset="0"/>
            </a:endParaRP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Se diferencian de los seguros tradicionales en:</a:t>
            </a:r>
          </a:p>
          <a:p>
            <a:pPr lvl="2" algn="just">
              <a:buClr>
                <a:srgbClr val="5F2364"/>
              </a:buClr>
              <a:buFont typeface="Wingdings" panose="05000000000000000000" pitchFamily="2" charset="2"/>
              <a:buChar char="§"/>
              <a:defRPr/>
            </a:pPr>
            <a:r>
              <a:rPr lang="es-MX" sz="1000" dirty="0">
                <a:solidFill>
                  <a:schemeClr val="tx1"/>
                </a:solidFill>
                <a:latin typeface="Century Gothic" panose="020B0502020202020204" pitchFamily="34" charset="0"/>
              </a:rPr>
              <a:t>Pago ligado a índices meteorológicos en lugar de siniestros.</a:t>
            </a:r>
          </a:p>
          <a:p>
            <a:pPr lvl="2" algn="just">
              <a:buClr>
                <a:srgbClr val="5F2364"/>
              </a:buClr>
              <a:buFont typeface="Wingdings" panose="05000000000000000000" pitchFamily="2" charset="2"/>
              <a:buChar char="§"/>
              <a:defRPr/>
            </a:pPr>
            <a:r>
              <a:rPr lang="es-MX" sz="1000" dirty="0">
                <a:solidFill>
                  <a:schemeClr val="tx1"/>
                </a:solidFill>
                <a:latin typeface="Century Gothic" panose="020B0502020202020204" pitchFamily="34" charset="0"/>
              </a:rPr>
              <a:t>No requieren evaluación de daños materiales ni peritajes.</a:t>
            </a:r>
          </a:p>
          <a:p>
            <a:pPr lvl="2" algn="just">
              <a:buClr>
                <a:srgbClr val="5F2364"/>
              </a:buClr>
              <a:buFont typeface="Wingdings" panose="05000000000000000000" pitchFamily="2" charset="2"/>
              <a:buChar char="§"/>
              <a:defRPr/>
            </a:pPr>
            <a:r>
              <a:rPr lang="es-MX" sz="1000" dirty="0">
                <a:solidFill>
                  <a:schemeClr val="tx1"/>
                </a:solidFill>
                <a:latin typeface="Century Gothic" panose="020B0502020202020204" pitchFamily="34" charset="0"/>
              </a:rPr>
              <a:t>Pueden completarse pagos automáticos sin comprobación al cumplirse el </a:t>
            </a:r>
            <a:r>
              <a:rPr lang="es-MX" sz="1000" dirty="0" err="1">
                <a:solidFill>
                  <a:schemeClr val="tx1"/>
                </a:solidFill>
                <a:latin typeface="Century Gothic" panose="020B0502020202020204" pitchFamily="34" charset="0"/>
              </a:rPr>
              <a:t>trigger</a:t>
            </a:r>
            <a:r>
              <a:rPr lang="es-MX" sz="1000" dirty="0">
                <a:solidFill>
                  <a:schemeClr val="tx1"/>
                </a:solidFill>
                <a:latin typeface="Century Gothic" panose="020B0502020202020204" pitchFamily="34" charset="0"/>
              </a:rPr>
              <a:t>.</a:t>
            </a: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Los contratos de derivados climáticos se estructuran en torno a </a:t>
            </a:r>
            <a:r>
              <a:rPr lang="es-MX" sz="1200" dirty="0" err="1">
                <a:solidFill>
                  <a:schemeClr val="tx1"/>
                </a:solidFill>
                <a:latin typeface="Century Gothic" panose="020B0502020202020204" pitchFamily="34" charset="0"/>
              </a:rPr>
              <a:t>triggers</a:t>
            </a:r>
            <a:r>
              <a:rPr lang="es-MX" sz="1200" dirty="0">
                <a:solidFill>
                  <a:schemeClr val="tx1"/>
                </a:solidFill>
                <a:latin typeface="Century Gothic" panose="020B0502020202020204" pitchFamily="34" charset="0"/>
              </a:rPr>
              <a:t> definidos: grados-día de calefacción (HDD) y de refrigeración (CDD), acumulación de precipitación o días de helada. Si el índice calculado supera o no alcanza un umbral, se ejecuta el </a:t>
            </a:r>
            <a:r>
              <a:rPr lang="es-MX" sz="1200">
                <a:solidFill>
                  <a:schemeClr val="tx1"/>
                </a:solidFill>
                <a:latin typeface="Century Gothic" panose="020B0502020202020204" pitchFamily="34" charset="0"/>
              </a:rPr>
              <a:t>pago.</a:t>
            </a:r>
          </a:p>
          <a:p>
            <a:pPr marL="267320" lvl="1" indent="0" algn="just">
              <a:buClr>
                <a:srgbClr val="5F2364"/>
              </a:buClr>
              <a:buNone/>
              <a:defRPr/>
            </a:pPr>
            <a:endParaRPr lang="es-MX" sz="1200" dirty="0">
              <a:solidFill>
                <a:schemeClr val="tx1"/>
              </a:solidFill>
              <a:latin typeface="Century Gothic" panose="020B0502020202020204" pitchFamily="34" charset="0"/>
            </a:endParaRP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Por ejemplo, un agricultor puede adquirir un derivado que pague por cada día con temperatura inferior a 5 °C durante la floración. De esta forma, recibe compensaciones que le permiten cubrir gastos adicionales y mantener la producción.</a:t>
            </a:r>
          </a:p>
          <a:p>
            <a:pPr lvl="1" algn="just">
              <a:buClr>
                <a:srgbClr val="5F2364"/>
              </a:buClr>
              <a:buFont typeface="Wingdings" panose="05000000000000000000" pitchFamily="2" charset="2"/>
              <a:buChar char="§"/>
              <a:defRPr/>
            </a:pPr>
            <a:endParaRPr lang="es-MX" sz="1200" dirty="0">
              <a:solidFill>
                <a:schemeClr val="tx1"/>
              </a:solidFill>
              <a:latin typeface="Century Gothic" panose="020B0502020202020204" pitchFamily="34" charset="0"/>
            </a:endParaRPr>
          </a:p>
          <a:p>
            <a:pPr marL="534639" marR="0" lvl="1" indent="-267319"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cxnSp>
        <p:nvCxnSpPr>
          <p:cNvPr id="9" name="Straight Connector 8">
            <a:extLst>
              <a:ext uri="{FF2B5EF4-FFF2-40B4-BE49-F238E27FC236}">
                <a16:creationId xmlns:a16="http://schemas.microsoft.com/office/drawing/2014/main" id="{428C3F48-73E3-B01C-32AE-4DB510CDE084}"/>
              </a:ext>
            </a:extLst>
          </p:cNvPr>
          <p:cNvCxnSpPr>
            <a:cxnSpLocks/>
          </p:cNvCxnSpPr>
          <p:nvPr/>
        </p:nvCxnSpPr>
        <p:spPr>
          <a:xfrm>
            <a:off x="5705389" y="2620516"/>
            <a:ext cx="0" cy="3866002"/>
          </a:xfrm>
          <a:prstGeom prst="line">
            <a:avLst/>
          </a:prstGeom>
          <a:ln w="28575">
            <a:solidFill>
              <a:srgbClr val="5F2364"/>
            </a:solidFill>
            <a:prstDash val="solid"/>
          </a:ln>
        </p:spPr>
      </p:cxnSp>
      <p:pic>
        <p:nvPicPr>
          <p:cNvPr id="28" name="Picture 27" descr="Imagen con el sol">
            <a:extLst>
              <a:ext uri="{FF2B5EF4-FFF2-40B4-BE49-F238E27FC236}">
                <a16:creationId xmlns:a16="http://schemas.microsoft.com/office/drawing/2014/main" id="{B8704C6B-F1DC-21A9-8E34-36C663C2C96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2397" y="1422898"/>
            <a:ext cx="1130258" cy="944839"/>
          </a:xfrm>
          <a:prstGeom prst="rect">
            <a:avLst/>
          </a:prstGeom>
          <a:noFill/>
          <a:ln>
            <a:noFill/>
          </a:ln>
        </p:spPr>
      </p:pic>
      <p:sp>
        <p:nvSpPr>
          <p:cNvPr id="104" name="Content Placeholder 4">
            <a:extLst>
              <a:ext uri="{FF2B5EF4-FFF2-40B4-BE49-F238E27FC236}">
                <a16:creationId xmlns:a16="http://schemas.microsoft.com/office/drawing/2014/main" id="{9DFFCB13-81E8-E8DE-14FC-EF61E7B6B3E9}"/>
              </a:ext>
            </a:extLst>
          </p:cNvPr>
          <p:cNvSpPr txBox="1">
            <a:spLocks/>
          </p:cNvSpPr>
          <p:nvPr/>
        </p:nvSpPr>
        <p:spPr>
          <a:xfrm>
            <a:off x="372246" y="2622711"/>
            <a:ext cx="5063490" cy="3866002"/>
          </a:xfrm>
          <a:prstGeom prst="rect">
            <a:avLst/>
          </a:prstGeom>
        </p:spPr>
        <p:txBody>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Clr>
                <a:srgbClr val="FFE600"/>
              </a:buClr>
              <a:buNone/>
              <a:defRPr/>
            </a:pPr>
            <a:r>
              <a:rPr kumimoji="0" lang="es-ES" sz="2000" b="1" i="0" u="none" strike="noStrike" kern="1200" cap="none" spc="0" normalizeH="0" baseline="0" noProof="0" dirty="0">
                <a:ln>
                  <a:noFill/>
                </a:ln>
                <a:solidFill>
                  <a:srgbClr val="27ACAA"/>
                </a:solidFill>
                <a:effectLst/>
                <a:uLnTx/>
                <a:uFillTx/>
                <a:latin typeface="Century Gothic" panose="020B0502020202020204" pitchFamily="34" charset="0"/>
              </a:rPr>
              <a:t> </a:t>
            </a:r>
            <a:r>
              <a:rPr lang="es-MX" b="1" dirty="0">
                <a:solidFill>
                  <a:srgbClr val="5F2364"/>
                </a:solidFill>
                <a:latin typeface="Century Gothic" panose="020B0502020202020204" pitchFamily="34" charset="0"/>
              </a:rPr>
              <a:t>¿Qué son los derivados climáticos?</a:t>
            </a:r>
          </a:p>
          <a:p>
            <a:pPr marL="0" indent="0">
              <a:buClr>
                <a:srgbClr val="FFE600"/>
              </a:buClr>
              <a:buNone/>
              <a:defRPr/>
            </a:pPr>
            <a:endParaRPr lang="es-MX" b="1" dirty="0">
              <a:solidFill>
                <a:srgbClr val="5F2364"/>
              </a:solidFill>
              <a:latin typeface="Century Gothic" panose="020B0502020202020204" pitchFamily="34" charset="0"/>
            </a:endParaRP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También conocidos como </a:t>
            </a:r>
            <a:r>
              <a:rPr lang="es-MX" sz="1200" dirty="0" err="1">
                <a:solidFill>
                  <a:schemeClr val="tx1"/>
                </a:solidFill>
                <a:latin typeface="Century Gothic" panose="020B0502020202020204" pitchFamily="34" charset="0"/>
              </a:rPr>
              <a:t>weather</a:t>
            </a:r>
            <a:r>
              <a:rPr lang="es-MX" sz="1200" dirty="0">
                <a:solidFill>
                  <a:schemeClr val="tx1"/>
                </a:solidFill>
                <a:latin typeface="Century Gothic" panose="020B0502020202020204" pitchFamily="34" charset="0"/>
              </a:rPr>
              <a:t> derivatives, los derivados climáticos son contratos financieros cuyo pago depende de índices meteorológicos previamente acordados. </a:t>
            </a: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Estos instrumentos no cubren pérdidas materiales directas, sino que establecen pagos condicionales basados en variables como temperatura, precipitación o niveles de nieve.</a:t>
            </a: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Al fijar umbrales y multiplicadores, las empresas pueden transferir el riesgo climático a otra parte, asegurando estabilidad y predictibilidad económica. </a:t>
            </a:r>
          </a:p>
          <a:p>
            <a:pPr lvl="1" algn="just">
              <a:buClr>
                <a:srgbClr val="5F2364"/>
              </a:buClr>
              <a:buFont typeface="Wingdings" panose="05000000000000000000" pitchFamily="2" charset="2"/>
              <a:buChar char="§"/>
              <a:defRPr/>
            </a:pPr>
            <a:r>
              <a:rPr lang="es-MX" sz="1200" dirty="0">
                <a:solidFill>
                  <a:schemeClr val="tx1"/>
                </a:solidFill>
                <a:latin typeface="Century Gothic" panose="020B0502020202020204" pitchFamily="34" charset="0"/>
              </a:rPr>
              <a:t>Se trata de una solución particularmente útil cuando los ingresos dependen de factores meteorológicos.</a:t>
            </a:r>
          </a:p>
          <a:p>
            <a:pPr marL="534639" marR="0" lvl="1" indent="-267319" algn="l"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cxnSp>
        <p:nvCxnSpPr>
          <p:cNvPr id="105" name="Straight Connector 104">
            <a:extLst>
              <a:ext uri="{FF2B5EF4-FFF2-40B4-BE49-F238E27FC236}">
                <a16:creationId xmlns:a16="http://schemas.microsoft.com/office/drawing/2014/main" id="{FD613942-C4FA-2E63-C5F9-EF3CE9B99EC1}"/>
              </a:ext>
            </a:extLst>
          </p:cNvPr>
          <p:cNvCxnSpPr>
            <a:cxnSpLocks/>
          </p:cNvCxnSpPr>
          <p:nvPr/>
        </p:nvCxnSpPr>
        <p:spPr>
          <a:xfrm>
            <a:off x="201780" y="2721298"/>
            <a:ext cx="0" cy="3866002"/>
          </a:xfrm>
          <a:prstGeom prst="line">
            <a:avLst/>
          </a:prstGeom>
          <a:ln w="28575">
            <a:solidFill>
              <a:srgbClr val="5F2364"/>
            </a:solidFill>
            <a:prstDash val="solid"/>
          </a:ln>
        </p:spPr>
      </p:cxnSp>
    </p:spTree>
    <p:extLst>
      <p:ext uri="{BB962C8B-B14F-4D97-AF65-F5344CB8AC3E}">
        <p14:creationId xmlns:p14="http://schemas.microsoft.com/office/powerpoint/2010/main" val="90053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4F8C2-9383-334C-5E80-726CC315877D}"/>
            </a:ext>
          </a:extLst>
        </p:cNvPr>
        <p:cNvGrpSpPr/>
        <p:nvPr/>
      </p:nvGrpSpPr>
      <p:grpSpPr>
        <a:xfrm>
          <a:off x="0" y="0"/>
          <a:ext cx="0" cy="0"/>
          <a:chOff x="0" y="0"/>
          <a:chExt cx="0" cy="0"/>
        </a:xfrm>
      </p:grpSpPr>
      <p:sp>
        <p:nvSpPr>
          <p:cNvPr id="2" name="CuadroTexto 1">
            <a:extLst>
              <a:ext uri="{FF2B5EF4-FFF2-40B4-BE49-F238E27FC236}">
                <a16:creationId xmlns:a16="http://schemas.microsoft.com/office/drawing/2014/main" id="{23D3B74D-3513-69DC-57E9-A11926EC8A18}"/>
              </a:ext>
            </a:extLst>
          </p:cNvPr>
          <p:cNvSpPr txBox="1"/>
          <p:nvPr/>
        </p:nvSpPr>
        <p:spPr>
          <a:xfrm>
            <a:off x="1067602" y="260997"/>
            <a:ext cx="6589523" cy="542200"/>
          </a:xfrm>
          <a:prstGeom prst="rect">
            <a:avLst/>
          </a:prstGeom>
          <a:noFill/>
        </p:spPr>
        <p:txBody>
          <a:bodyPr wrap="square" rtlCol="0">
            <a:spAutoFit/>
          </a:bodyPr>
          <a:lstStyle/>
          <a:p>
            <a:pPr>
              <a:lnSpc>
                <a:spcPct val="115000"/>
              </a:lnSpc>
              <a:spcAft>
                <a:spcPts val="800"/>
              </a:spcAft>
            </a:pPr>
            <a:r>
              <a:rPr lang="es-ES" sz="2800" b="1" kern="100" dirty="0">
                <a:solidFill>
                  <a:srgbClr val="5F2364"/>
                </a:solidFill>
                <a:latin typeface="Century Gothic" panose="020B0502020202020204" pitchFamily="34" charset="0"/>
                <a:ea typeface="Tahoma" panose="020B0604030504040204" pitchFamily="34" charset="0"/>
                <a:cs typeface="Tahoma" panose="020B0604030504040204" pitchFamily="34" charset="0"/>
              </a:rPr>
              <a:t>Riesgo de Modelo</a:t>
            </a:r>
          </a:p>
        </p:txBody>
      </p:sp>
      <p:grpSp>
        <p:nvGrpSpPr>
          <p:cNvPr id="4" name="Grupo 3">
            <a:extLst>
              <a:ext uri="{FF2B5EF4-FFF2-40B4-BE49-F238E27FC236}">
                <a16:creationId xmlns:a16="http://schemas.microsoft.com/office/drawing/2014/main" id="{0FA54443-C1C1-5666-D2B8-A8D74478AC7E}"/>
              </a:ext>
            </a:extLst>
          </p:cNvPr>
          <p:cNvGrpSpPr/>
          <p:nvPr/>
        </p:nvGrpSpPr>
        <p:grpSpPr>
          <a:xfrm>
            <a:off x="254282" y="270730"/>
            <a:ext cx="748010" cy="812393"/>
            <a:chOff x="533341" y="510112"/>
            <a:chExt cx="997346" cy="1083190"/>
          </a:xfrm>
        </p:grpSpPr>
        <p:sp>
          <p:nvSpPr>
            <p:cNvPr id="6" name="object 9">
              <a:extLst>
                <a:ext uri="{FF2B5EF4-FFF2-40B4-BE49-F238E27FC236}">
                  <a16:creationId xmlns:a16="http://schemas.microsoft.com/office/drawing/2014/main" id="{4BD1F24A-78C0-D316-3084-017560851EA3}"/>
                </a:ext>
              </a:extLst>
            </p:cNvPr>
            <p:cNvSpPr/>
            <p:nvPr/>
          </p:nvSpPr>
          <p:spPr>
            <a:xfrm>
              <a:off x="53334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3" name="object 10">
              <a:extLst>
                <a:ext uri="{FF2B5EF4-FFF2-40B4-BE49-F238E27FC236}">
                  <a16:creationId xmlns:a16="http://schemas.microsoft.com/office/drawing/2014/main" id="{A555494F-6B79-F74F-57A2-BC32DF9C0335}"/>
                </a:ext>
              </a:extLst>
            </p:cNvPr>
            <p:cNvSpPr/>
            <p:nvPr/>
          </p:nvSpPr>
          <p:spPr>
            <a:xfrm>
              <a:off x="69331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7" name="object 11">
              <a:extLst>
                <a:ext uri="{FF2B5EF4-FFF2-40B4-BE49-F238E27FC236}">
                  <a16:creationId xmlns:a16="http://schemas.microsoft.com/office/drawing/2014/main" id="{55ACF89E-171A-00B2-41E5-6DAC7D25CB94}"/>
                </a:ext>
              </a:extLst>
            </p:cNvPr>
            <p:cNvSpPr/>
            <p:nvPr/>
          </p:nvSpPr>
          <p:spPr>
            <a:xfrm>
              <a:off x="853292"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20" name="object 12">
              <a:extLst>
                <a:ext uri="{FF2B5EF4-FFF2-40B4-BE49-F238E27FC236}">
                  <a16:creationId xmlns:a16="http://schemas.microsoft.com/office/drawing/2014/main" id="{AC1A3A06-E15F-D9AE-24EB-070313BECFD8}"/>
                </a:ext>
              </a:extLst>
            </p:cNvPr>
            <p:cNvSpPr/>
            <p:nvPr/>
          </p:nvSpPr>
          <p:spPr>
            <a:xfrm>
              <a:off x="1013282" y="1100672"/>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1" name="object 13">
              <a:extLst>
                <a:ext uri="{FF2B5EF4-FFF2-40B4-BE49-F238E27FC236}">
                  <a16:creationId xmlns:a16="http://schemas.microsoft.com/office/drawing/2014/main" id="{B0F76014-53FF-903D-AD2A-95164CAD178E}"/>
                </a:ext>
              </a:extLst>
            </p:cNvPr>
            <p:cNvSpPr/>
            <p:nvPr/>
          </p:nvSpPr>
          <p:spPr>
            <a:xfrm>
              <a:off x="533341"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3" name="object 14">
              <a:extLst>
                <a:ext uri="{FF2B5EF4-FFF2-40B4-BE49-F238E27FC236}">
                  <a16:creationId xmlns:a16="http://schemas.microsoft.com/office/drawing/2014/main" id="{2D77178F-4EAB-E342-98D6-50A77982F71B}"/>
                </a:ext>
              </a:extLst>
            </p:cNvPr>
            <p:cNvSpPr/>
            <p:nvPr/>
          </p:nvSpPr>
          <p:spPr>
            <a:xfrm>
              <a:off x="69331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4" name="object 15">
              <a:extLst>
                <a:ext uri="{FF2B5EF4-FFF2-40B4-BE49-F238E27FC236}">
                  <a16:creationId xmlns:a16="http://schemas.microsoft.com/office/drawing/2014/main" id="{6E4C5DA2-EFC5-B02E-A53E-2FFEDE54A80F}"/>
                </a:ext>
              </a:extLst>
            </p:cNvPr>
            <p:cNvSpPr/>
            <p:nvPr/>
          </p:nvSpPr>
          <p:spPr>
            <a:xfrm>
              <a:off x="853290"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5" name="object 16">
              <a:extLst>
                <a:ext uri="{FF2B5EF4-FFF2-40B4-BE49-F238E27FC236}">
                  <a16:creationId xmlns:a16="http://schemas.microsoft.com/office/drawing/2014/main" id="{CEC51C85-55F0-0F87-81E6-A74505C2F7FF}"/>
                </a:ext>
              </a:extLst>
            </p:cNvPr>
            <p:cNvSpPr/>
            <p:nvPr/>
          </p:nvSpPr>
          <p:spPr>
            <a:xfrm>
              <a:off x="1013280" y="125239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6" name="object 17">
              <a:extLst>
                <a:ext uri="{FF2B5EF4-FFF2-40B4-BE49-F238E27FC236}">
                  <a16:creationId xmlns:a16="http://schemas.microsoft.com/office/drawing/2014/main" id="{DC791B61-DA0A-4AFB-E774-AAA44E19BE5F}"/>
                </a:ext>
              </a:extLst>
            </p:cNvPr>
            <p:cNvSpPr/>
            <p:nvPr/>
          </p:nvSpPr>
          <p:spPr>
            <a:xfrm>
              <a:off x="53334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7" name="object 18">
              <a:extLst>
                <a:ext uri="{FF2B5EF4-FFF2-40B4-BE49-F238E27FC236}">
                  <a16:creationId xmlns:a16="http://schemas.microsoft.com/office/drawing/2014/main" id="{F05A4F8C-F1AD-866B-32BF-CC6FF0EE9246}"/>
                </a:ext>
              </a:extLst>
            </p:cNvPr>
            <p:cNvSpPr/>
            <p:nvPr/>
          </p:nvSpPr>
          <p:spPr>
            <a:xfrm>
              <a:off x="69331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8" name="object 19">
              <a:extLst>
                <a:ext uri="{FF2B5EF4-FFF2-40B4-BE49-F238E27FC236}">
                  <a16:creationId xmlns:a16="http://schemas.microsoft.com/office/drawing/2014/main" id="{BA6F2FE0-CC0B-4923-43B8-8A49491FE8D5}"/>
                </a:ext>
              </a:extLst>
            </p:cNvPr>
            <p:cNvSpPr/>
            <p:nvPr/>
          </p:nvSpPr>
          <p:spPr>
            <a:xfrm>
              <a:off x="853292"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39" name="object 20">
              <a:extLst>
                <a:ext uri="{FF2B5EF4-FFF2-40B4-BE49-F238E27FC236}">
                  <a16:creationId xmlns:a16="http://schemas.microsoft.com/office/drawing/2014/main" id="{0109893D-37B3-3544-3976-5AF8A51DD5D7}"/>
                </a:ext>
              </a:extLst>
            </p:cNvPr>
            <p:cNvSpPr/>
            <p:nvPr/>
          </p:nvSpPr>
          <p:spPr>
            <a:xfrm>
              <a:off x="1013282" y="1404117"/>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0" name="object 21">
              <a:extLst>
                <a:ext uri="{FF2B5EF4-FFF2-40B4-BE49-F238E27FC236}">
                  <a16:creationId xmlns:a16="http://schemas.microsoft.com/office/drawing/2014/main" id="{1D6984F1-84C9-E57D-AB3E-6532C1794ECA}"/>
                </a:ext>
              </a:extLst>
            </p:cNvPr>
            <p:cNvSpPr/>
            <p:nvPr/>
          </p:nvSpPr>
          <p:spPr>
            <a:xfrm>
              <a:off x="53334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1" name="object 22">
              <a:extLst>
                <a:ext uri="{FF2B5EF4-FFF2-40B4-BE49-F238E27FC236}">
                  <a16:creationId xmlns:a16="http://schemas.microsoft.com/office/drawing/2014/main" id="{274D789B-440C-85A2-2998-B03AD7837AC8}"/>
                </a:ext>
              </a:extLst>
            </p:cNvPr>
            <p:cNvSpPr/>
            <p:nvPr/>
          </p:nvSpPr>
          <p:spPr>
            <a:xfrm>
              <a:off x="69331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2" name="object 23">
              <a:extLst>
                <a:ext uri="{FF2B5EF4-FFF2-40B4-BE49-F238E27FC236}">
                  <a16:creationId xmlns:a16="http://schemas.microsoft.com/office/drawing/2014/main" id="{97757AF7-5CD3-3587-ECAE-3BD3379315EE}"/>
                </a:ext>
              </a:extLst>
            </p:cNvPr>
            <p:cNvSpPr/>
            <p:nvPr/>
          </p:nvSpPr>
          <p:spPr>
            <a:xfrm>
              <a:off x="853292"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3" name="object 24">
              <a:extLst>
                <a:ext uri="{FF2B5EF4-FFF2-40B4-BE49-F238E27FC236}">
                  <a16:creationId xmlns:a16="http://schemas.microsoft.com/office/drawing/2014/main" id="{3FEC70FE-301F-F4F3-9443-C84F60879E15}"/>
                </a:ext>
              </a:extLst>
            </p:cNvPr>
            <p:cNvSpPr/>
            <p:nvPr/>
          </p:nvSpPr>
          <p:spPr>
            <a:xfrm>
              <a:off x="1013282" y="1555836"/>
              <a:ext cx="37465" cy="37465"/>
            </a:xfrm>
            <a:custGeom>
              <a:avLst/>
              <a:gdLst/>
              <a:ahLst/>
              <a:cxnLst/>
              <a:rect l="l" t="t" r="r" b="b"/>
              <a:pathLst>
                <a:path w="37465" h="37465">
                  <a:moveTo>
                    <a:pt x="15916" y="0"/>
                  </a:moveTo>
                  <a:lnTo>
                    <a:pt x="4529" y="6472"/>
                  </a:lnTo>
                  <a:lnTo>
                    <a:pt x="0" y="20355"/>
                  </a:lnTo>
                  <a:lnTo>
                    <a:pt x="6169" y="32211"/>
                  </a:lnTo>
                  <a:lnTo>
                    <a:pt x="19590" y="37011"/>
                  </a:lnTo>
                  <a:lnTo>
                    <a:pt x="32023" y="31232"/>
                  </a:lnTo>
                  <a:lnTo>
                    <a:pt x="37124" y="18423"/>
                  </a:lnTo>
                  <a:lnTo>
                    <a:pt x="36860" y="15302"/>
                  </a:lnTo>
                  <a:lnTo>
                    <a:pt x="30151" y="4295"/>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4" name="object 25">
              <a:extLst>
                <a:ext uri="{FF2B5EF4-FFF2-40B4-BE49-F238E27FC236}">
                  <a16:creationId xmlns:a16="http://schemas.microsoft.com/office/drawing/2014/main" id="{3D4DCD56-CD7E-0E4A-E61A-DF1C1BC7D473}"/>
                </a:ext>
              </a:extLst>
            </p:cNvPr>
            <p:cNvSpPr/>
            <p:nvPr/>
          </p:nvSpPr>
          <p:spPr>
            <a:xfrm>
              <a:off x="533341"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5" name="object 26">
              <a:extLst>
                <a:ext uri="{FF2B5EF4-FFF2-40B4-BE49-F238E27FC236}">
                  <a16:creationId xmlns:a16="http://schemas.microsoft.com/office/drawing/2014/main" id="{0533AC78-1DEF-CA63-2B60-65211198F6E2}"/>
                </a:ext>
              </a:extLst>
            </p:cNvPr>
            <p:cNvSpPr/>
            <p:nvPr/>
          </p:nvSpPr>
          <p:spPr>
            <a:xfrm>
              <a:off x="69331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6" name="object 27">
              <a:extLst>
                <a:ext uri="{FF2B5EF4-FFF2-40B4-BE49-F238E27FC236}">
                  <a16:creationId xmlns:a16="http://schemas.microsoft.com/office/drawing/2014/main" id="{FF08B413-FE99-A6FD-35CA-39C48159589C}"/>
                </a:ext>
              </a:extLst>
            </p:cNvPr>
            <p:cNvSpPr/>
            <p:nvPr/>
          </p:nvSpPr>
          <p:spPr>
            <a:xfrm>
              <a:off x="853290"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object 28">
              <a:extLst>
                <a:ext uri="{FF2B5EF4-FFF2-40B4-BE49-F238E27FC236}">
                  <a16:creationId xmlns:a16="http://schemas.microsoft.com/office/drawing/2014/main" id="{FD2A7704-2FC1-0210-DEE2-20A0BD051A72}"/>
                </a:ext>
              </a:extLst>
            </p:cNvPr>
            <p:cNvSpPr/>
            <p:nvPr/>
          </p:nvSpPr>
          <p:spPr>
            <a:xfrm>
              <a:off x="1013280" y="510113"/>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8" name="object 29">
              <a:extLst>
                <a:ext uri="{FF2B5EF4-FFF2-40B4-BE49-F238E27FC236}">
                  <a16:creationId xmlns:a16="http://schemas.microsoft.com/office/drawing/2014/main" id="{FBB8701F-5744-F910-F673-BD54176F62CF}"/>
                </a:ext>
              </a:extLst>
            </p:cNvPr>
            <p:cNvSpPr/>
            <p:nvPr/>
          </p:nvSpPr>
          <p:spPr>
            <a:xfrm>
              <a:off x="53334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9" name="object 30">
              <a:extLst>
                <a:ext uri="{FF2B5EF4-FFF2-40B4-BE49-F238E27FC236}">
                  <a16:creationId xmlns:a16="http://schemas.microsoft.com/office/drawing/2014/main" id="{E3E420D0-70F9-2E12-3136-8B17F6F7B81D}"/>
                </a:ext>
              </a:extLst>
            </p:cNvPr>
            <p:cNvSpPr/>
            <p:nvPr/>
          </p:nvSpPr>
          <p:spPr>
            <a:xfrm>
              <a:off x="69331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0" name="object 31">
              <a:extLst>
                <a:ext uri="{FF2B5EF4-FFF2-40B4-BE49-F238E27FC236}">
                  <a16:creationId xmlns:a16="http://schemas.microsoft.com/office/drawing/2014/main" id="{E90175EE-38E6-B649-3740-ABA828168A76}"/>
                </a:ext>
              </a:extLst>
            </p:cNvPr>
            <p:cNvSpPr/>
            <p:nvPr/>
          </p:nvSpPr>
          <p:spPr>
            <a:xfrm>
              <a:off x="853292"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1" name="object 32">
              <a:extLst>
                <a:ext uri="{FF2B5EF4-FFF2-40B4-BE49-F238E27FC236}">
                  <a16:creationId xmlns:a16="http://schemas.microsoft.com/office/drawing/2014/main" id="{B6067F87-CDFF-550C-C4E3-DE7B80E92616}"/>
                </a:ext>
              </a:extLst>
            </p:cNvPr>
            <p:cNvSpPr/>
            <p:nvPr/>
          </p:nvSpPr>
          <p:spPr>
            <a:xfrm>
              <a:off x="1013282" y="661838"/>
              <a:ext cx="37465" cy="37465"/>
            </a:xfrm>
            <a:custGeom>
              <a:avLst/>
              <a:gdLst/>
              <a:ahLst/>
              <a:cxnLst/>
              <a:rect l="l" t="t" r="r" b="b"/>
              <a:pathLst>
                <a:path w="37465" h="37465">
                  <a:moveTo>
                    <a:pt x="15916" y="0"/>
                  </a:moveTo>
                  <a:lnTo>
                    <a:pt x="4529" y="6468"/>
                  </a:lnTo>
                  <a:lnTo>
                    <a:pt x="0" y="20355"/>
                  </a:lnTo>
                  <a:lnTo>
                    <a:pt x="6169" y="32211"/>
                  </a:lnTo>
                  <a:lnTo>
                    <a:pt x="19590" y="37012"/>
                  </a:lnTo>
                  <a:lnTo>
                    <a:pt x="32023" y="31232"/>
                  </a:lnTo>
                  <a:lnTo>
                    <a:pt x="37124" y="18424"/>
                  </a:lnTo>
                  <a:lnTo>
                    <a:pt x="36861" y="15300"/>
                  </a:lnTo>
                  <a:lnTo>
                    <a:pt x="30151" y="4291"/>
                  </a:lnTo>
                  <a:lnTo>
                    <a:pt x="1591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2" name="object 33">
              <a:extLst>
                <a:ext uri="{FF2B5EF4-FFF2-40B4-BE49-F238E27FC236}">
                  <a16:creationId xmlns:a16="http://schemas.microsoft.com/office/drawing/2014/main" id="{D18B1F55-43A9-40B6-C4A4-80C874464D25}"/>
                </a:ext>
              </a:extLst>
            </p:cNvPr>
            <p:cNvSpPr/>
            <p:nvPr/>
          </p:nvSpPr>
          <p:spPr>
            <a:xfrm>
              <a:off x="53334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3" name="object 34">
              <a:extLst>
                <a:ext uri="{FF2B5EF4-FFF2-40B4-BE49-F238E27FC236}">
                  <a16:creationId xmlns:a16="http://schemas.microsoft.com/office/drawing/2014/main" id="{98819353-4666-505F-67A6-863F1742BC4A}"/>
                </a:ext>
              </a:extLst>
            </p:cNvPr>
            <p:cNvSpPr/>
            <p:nvPr/>
          </p:nvSpPr>
          <p:spPr>
            <a:xfrm>
              <a:off x="69331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4" name="object 35">
              <a:extLst>
                <a:ext uri="{FF2B5EF4-FFF2-40B4-BE49-F238E27FC236}">
                  <a16:creationId xmlns:a16="http://schemas.microsoft.com/office/drawing/2014/main" id="{DFDA59F5-77DD-2917-EA31-73E743D76A7B}"/>
                </a:ext>
              </a:extLst>
            </p:cNvPr>
            <p:cNvSpPr/>
            <p:nvPr/>
          </p:nvSpPr>
          <p:spPr>
            <a:xfrm>
              <a:off x="853292"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5" name="object 36">
              <a:extLst>
                <a:ext uri="{FF2B5EF4-FFF2-40B4-BE49-F238E27FC236}">
                  <a16:creationId xmlns:a16="http://schemas.microsoft.com/office/drawing/2014/main" id="{72BB5985-4045-F3CD-E72B-D93C7050555B}"/>
                </a:ext>
              </a:extLst>
            </p:cNvPr>
            <p:cNvSpPr/>
            <p:nvPr/>
          </p:nvSpPr>
          <p:spPr>
            <a:xfrm>
              <a:off x="1013282" y="813545"/>
              <a:ext cx="37465" cy="37465"/>
            </a:xfrm>
            <a:custGeom>
              <a:avLst/>
              <a:gdLst/>
              <a:ahLst/>
              <a:cxnLst/>
              <a:rect l="l" t="t" r="r" b="b"/>
              <a:pathLst>
                <a:path w="37465" h="37465">
                  <a:moveTo>
                    <a:pt x="15906" y="0"/>
                  </a:moveTo>
                  <a:lnTo>
                    <a:pt x="4526" y="6482"/>
                  </a:lnTo>
                  <a:lnTo>
                    <a:pt x="0" y="20366"/>
                  </a:lnTo>
                  <a:lnTo>
                    <a:pt x="6169" y="32222"/>
                  </a:lnTo>
                  <a:lnTo>
                    <a:pt x="19590" y="37022"/>
                  </a:lnTo>
                  <a:lnTo>
                    <a:pt x="32023" y="31243"/>
                  </a:lnTo>
                  <a:lnTo>
                    <a:pt x="37124" y="18435"/>
                  </a:lnTo>
                  <a:lnTo>
                    <a:pt x="36858" y="15298"/>
                  </a:lnTo>
                  <a:lnTo>
                    <a:pt x="30143" y="4294"/>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6" name="object 37">
              <a:extLst>
                <a:ext uri="{FF2B5EF4-FFF2-40B4-BE49-F238E27FC236}">
                  <a16:creationId xmlns:a16="http://schemas.microsoft.com/office/drawing/2014/main" id="{77D859FE-F4FA-7299-026F-6E9FB818080B}"/>
                </a:ext>
              </a:extLst>
            </p:cNvPr>
            <p:cNvSpPr/>
            <p:nvPr/>
          </p:nvSpPr>
          <p:spPr>
            <a:xfrm>
              <a:off x="533341"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7" name="object 38">
              <a:extLst>
                <a:ext uri="{FF2B5EF4-FFF2-40B4-BE49-F238E27FC236}">
                  <a16:creationId xmlns:a16="http://schemas.microsoft.com/office/drawing/2014/main" id="{0DB12B91-EDC7-8C91-BDEF-B06514A36E08}"/>
                </a:ext>
              </a:extLst>
            </p:cNvPr>
            <p:cNvSpPr/>
            <p:nvPr/>
          </p:nvSpPr>
          <p:spPr>
            <a:xfrm>
              <a:off x="69331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object 39">
              <a:extLst>
                <a:ext uri="{FF2B5EF4-FFF2-40B4-BE49-F238E27FC236}">
                  <a16:creationId xmlns:a16="http://schemas.microsoft.com/office/drawing/2014/main" id="{E34A5791-8386-6846-30A6-481596A7CE21}"/>
                </a:ext>
              </a:extLst>
            </p:cNvPr>
            <p:cNvSpPr/>
            <p:nvPr/>
          </p:nvSpPr>
          <p:spPr>
            <a:xfrm>
              <a:off x="853290"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9" name="object 40">
              <a:extLst>
                <a:ext uri="{FF2B5EF4-FFF2-40B4-BE49-F238E27FC236}">
                  <a16:creationId xmlns:a16="http://schemas.microsoft.com/office/drawing/2014/main" id="{A6C78644-6C63-E822-0EED-4AA7B7452E31}"/>
                </a:ext>
              </a:extLst>
            </p:cNvPr>
            <p:cNvSpPr/>
            <p:nvPr/>
          </p:nvSpPr>
          <p:spPr>
            <a:xfrm>
              <a:off x="1013280" y="965266"/>
              <a:ext cx="37465" cy="37465"/>
            </a:xfrm>
            <a:custGeom>
              <a:avLst/>
              <a:gdLst/>
              <a:ahLst/>
              <a:cxnLst/>
              <a:rect l="l" t="t" r="r" b="b"/>
              <a:pathLst>
                <a:path w="37465" h="37465">
                  <a:moveTo>
                    <a:pt x="15923" y="0"/>
                  </a:moveTo>
                  <a:lnTo>
                    <a:pt x="4532" y="6470"/>
                  </a:lnTo>
                  <a:lnTo>
                    <a:pt x="0" y="20349"/>
                  </a:lnTo>
                  <a:lnTo>
                    <a:pt x="6163" y="32207"/>
                  </a:lnTo>
                  <a:lnTo>
                    <a:pt x="19582" y="37013"/>
                  </a:lnTo>
                  <a:lnTo>
                    <a:pt x="32022" y="31238"/>
                  </a:lnTo>
                  <a:lnTo>
                    <a:pt x="37126" y="18437"/>
                  </a:lnTo>
                  <a:lnTo>
                    <a:pt x="36862" y="15309"/>
                  </a:lnTo>
                  <a:lnTo>
                    <a:pt x="30152" y="4296"/>
                  </a:lnTo>
                  <a:lnTo>
                    <a:pt x="15923"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0" name="object 41">
              <a:extLst>
                <a:ext uri="{FF2B5EF4-FFF2-40B4-BE49-F238E27FC236}">
                  <a16:creationId xmlns:a16="http://schemas.microsoft.com/office/drawing/2014/main" id="{FFA77EE7-4AA2-4802-1C1C-B41F3BD2E3E3}"/>
                </a:ext>
              </a:extLst>
            </p:cNvPr>
            <p:cNvSpPr/>
            <p:nvPr/>
          </p:nvSpPr>
          <p:spPr>
            <a:xfrm>
              <a:off x="101328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1" name="object 42">
              <a:extLst>
                <a:ext uri="{FF2B5EF4-FFF2-40B4-BE49-F238E27FC236}">
                  <a16:creationId xmlns:a16="http://schemas.microsoft.com/office/drawing/2014/main" id="{D07D52DA-5606-9487-93F2-58CE763052C3}"/>
                </a:ext>
              </a:extLst>
            </p:cNvPr>
            <p:cNvSpPr/>
            <p:nvPr/>
          </p:nvSpPr>
          <p:spPr>
            <a:xfrm>
              <a:off x="1173255"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2" name="object 43">
              <a:extLst>
                <a:ext uri="{FF2B5EF4-FFF2-40B4-BE49-F238E27FC236}">
                  <a16:creationId xmlns:a16="http://schemas.microsoft.com/office/drawing/2014/main" id="{7F80882F-AA96-79B8-79BD-AA00C6F0EB00}"/>
                </a:ext>
              </a:extLst>
            </p:cNvPr>
            <p:cNvSpPr/>
            <p:nvPr/>
          </p:nvSpPr>
          <p:spPr>
            <a:xfrm>
              <a:off x="1333233" y="1100673"/>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3" name="object 44">
              <a:extLst>
                <a:ext uri="{FF2B5EF4-FFF2-40B4-BE49-F238E27FC236}">
                  <a16:creationId xmlns:a16="http://schemas.microsoft.com/office/drawing/2014/main" id="{66BA9DA0-8191-F707-DE99-BC033C6DE3CA}"/>
                </a:ext>
              </a:extLst>
            </p:cNvPr>
            <p:cNvSpPr/>
            <p:nvPr/>
          </p:nvSpPr>
          <p:spPr>
            <a:xfrm>
              <a:off x="1493222" y="1100671"/>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4" name="object 45">
              <a:extLst>
                <a:ext uri="{FF2B5EF4-FFF2-40B4-BE49-F238E27FC236}">
                  <a16:creationId xmlns:a16="http://schemas.microsoft.com/office/drawing/2014/main" id="{0A57A6C2-9D5E-7CF9-E344-387C0E7027D3}"/>
                </a:ext>
              </a:extLst>
            </p:cNvPr>
            <p:cNvSpPr/>
            <p:nvPr/>
          </p:nvSpPr>
          <p:spPr>
            <a:xfrm>
              <a:off x="1013280"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5" name="object 46">
              <a:extLst>
                <a:ext uri="{FF2B5EF4-FFF2-40B4-BE49-F238E27FC236}">
                  <a16:creationId xmlns:a16="http://schemas.microsoft.com/office/drawing/2014/main" id="{29E82D49-0F2D-3565-7B70-8EF0266CA22A}"/>
                </a:ext>
              </a:extLst>
            </p:cNvPr>
            <p:cNvSpPr/>
            <p:nvPr/>
          </p:nvSpPr>
          <p:spPr>
            <a:xfrm>
              <a:off x="1173253"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6" name="object 47">
              <a:extLst>
                <a:ext uri="{FF2B5EF4-FFF2-40B4-BE49-F238E27FC236}">
                  <a16:creationId xmlns:a16="http://schemas.microsoft.com/office/drawing/2014/main" id="{923318F4-8297-3797-4717-6F5E7F57BBE9}"/>
                </a:ext>
              </a:extLst>
            </p:cNvPr>
            <p:cNvSpPr/>
            <p:nvPr/>
          </p:nvSpPr>
          <p:spPr>
            <a:xfrm>
              <a:off x="1333231" y="125239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7" name="object 48">
              <a:extLst>
                <a:ext uri="{FF2B5EF4-FFF2-40B4-BE49-F238E27FC236}">
                  <a16:creationId xmlns:a16="http://schemas.microsoft.com/office/drawing/2014/main" id="{BA7DD38C-9508-7857-AF8A-57DC933E0814}"/>
                </a:ext>
              </a:extLst>
            </p:cNvPr>
            <p:cNvSpPr/>
            <p:nvPr/>
          </p:nvSpPr>
          <p:spPr>
            <a:xfrm>
              <a:off x="1493221" y="1252391"/>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8" name="object 49">
              <a:extLst>
                <a:ext uri="{FF2B5EF4-FFF2-40B4-BE49-F238E27FC236}">
                  <a16:creationId xmlns:a16="http://schemas.microsoft.com/office/drawing/2014/main" id="{B7317D51-15B7-1EAD-644B-62B88E0C2BE9}"/>
                </a:ext>
              </a:extLst>
            </p:cNvPr>
            <p:cNvSpPr/>
            <p:nvPr/>
          </p:nvSpPr>
          <p:spPr>
            <a:xfrm>
              <a:off x="101328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9" name="object 50">
              <a:extLst>
                <a:ext uri="{FF2B5EF4-FFF2-40B4-BE49-F238E27FC236}">
                  <a16:creationId xmlns:a16="http://schemas.microsoft.com/office/drawing/2014/main" id="{AC3746E5-BA70-44E7-1E98-9F70035F6A22}"/>
                </a:ext>
              </a:extLst>
            </p:cNvPr>
            <p:cNvSpPr/>
            <p:nvPr/>
          </p:nvSpPr>
          <p:spPr>
            <a:xfrm>
              <a:off x="1173255"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0" name="object 51">
              <a:extLst>
                <a:ext uri="{FF2B5EF4-FFF2-40B4-BE49-F238E27FC236}">
                  <a16:creationId xmlns:a16="http://schemas.microsoft.com/office/drawing/2014/main" id="{4BD9D8C9-E940-A47C-406A-5E0481E18EA5}"/>
                </a:ext>
              </a:extLst>
            </p:cNvPr>
            <p:cNvSpPr/>
            <p:nvPr/>
          </p:nvSpPr>
          <p:spPr>
            <a:xfrm>
              <a:off x="1333233" y="140411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1" name="object 52">
              <a:extLst>
                <a:ext uri="{FF2B5EF4-FFF2-40B4-BE49-F238E27FC236}">
                  <a16:creationId xmlns:a16="http://schemas.microsoft.com/office/drawing/2014/main" id="{D402E89A-A0C7-CC63-C3E9-8CCE963F7492}"/>
                </a:ext>
              </a:extLst>
            </p:cNvPr>
            <p:cNvSpPr/>
            <p:nvPr/>
          </p:nvSpPr>
          <p:spPr>
            <a:xfrm>
              <a:off x="1493222" y="1404116"/>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2" name="object 53">
              <a:extLst>
                <a:ext uri="{FF2B5EF4-FFF2-40B4-BE49-F238E27FC236}">
                  <a16:creationId xmlns:a16="http://schemas.microsoft.com/office/drawing/2014/main" id="{08ED563F-F499-F5D5-631C-67B5D950EBFE}"/>
                </a:ext>
              </a:extLst>
            </p:cNvPr>
            <p:cNvSpPr/>
            <p:nvPr/>
          </p:nvSpPr>
          <p:spPr>
            <a:xfrm>
              <a:off x="101328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3" name="object 54">
              <a:extLst>
                <a:ext uri="{FF2B5EF4-FFF2-40B4-BE49-F238E27FC236}">
                  <a16:creationId xmlns:a16="http://schemas.microsoft.com/office/drawing/2014/main" id="{BAD28C16-3100-CF5C-E9B2-23896944BD3B}"/>
                </a:ext>
              </a:extLst>
            </p:cNvPr>
            <p:cNvSpPr/>
            <p:nvPr/>
          </p:nvSpPr>
          <p:spPr>
            <a:xfrm>
              <a:off x="1173255"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4" name="object 55">
              <a:extLst>
                <a:ext uri="{FF2B5EF4-FFF2-40B4-BE49-F238E27FC236}">
                  <a16:creationId xmlns:a16="http://schemas.microsoft.com/office/drawing/2014/main" id="{729AB84E-0D1B-C09E-9652-A41DC38AC1FD}"/>
                </a:ext>
              </a:extLst>
            </p:cNvPr>
            <p:cNvSpPr/>
            <p:nvPr/>
          </p:nvSpPr>
          <p:spPr>
            <a:xfrm>
              <a:off x="1333233" y="1555837"/>
              <a:ext cx="37465" cy="37465"/>
            </a:xfrm>
            <a:custGeom>
              <a:avLst/>
              <a:gdLst/>
              <a:ahLst/>
              <a:cxnLst/>
              <a:rect l="l" t="t" r="r" b="b"/>
              <a:pathLst>
                <a:path w="37465" h="37465">
                  <a:moveTo>
                    <a:pt x="15910" y="0"/>
                  </a:moveTo>
                  <a:lnTo>
                    <a:pt x="4530" y="6476"/>
                  </a:lnTo>
                  <a:lnTo>
                    <a:pt x="0" y="20362"/>
                  </a:lnTo>
                  <a:lnTo>
                    <a:pt x="6178" y="32212"/>
                  </a:lnTo>
                  <a:lnTo>
                    <a:pt x="19600" y="37010"/>
                  </a:lnTo>
                  <a:lnTo>
                    <a:pt x="32036" y="31227"/>
                  </a:lnTo>
                  <a:lnTo>
                    <a:pt x="37136" y="18422"/>
                  </a:lnTo>
                  <a:lnTo>
                    <a:pt x="36870" y="15289"/>
                  </a:lnTo>
                  <a:lnTo>
                    <a:pt x="30155" y="4290"/>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5" name="object 56">
              <a:extLst>
                <a:ext uri="{FF2B5EF4-FFF2-40B4-BE49-F238E27FC236}">
                  <a16:creationId xmlns:a16="http://schemas.microsoft.com/office/drawing/2014/main" id="{30F54DEC-23FF-84FE-32E0-B816A7D41F50}"/>
                </a:ext>
              </a:extLst>
            </p:cNvPr>
            <p:cNvSpPr/>
            <p:nvPr/>
          </p:nvSpPr>
          <p:spPr>
            <a:xfrm>
              <a:off x="1493222" y="1555835"/>
              <a:ext cx="37465" cy="37465"/>
            </a:xfrm>
            <a:custGeom>
              <a:avLst/>
              <a:gdLst/>
              <a:ahLst/>
              <a:cxnLst/>
              <a:rect l="l" t="t" r="r" b="b"/>
              <a:pathLst>
                <a:path w="37465" h="37465">
                  <a:moveTo>
                    <a:pt x="15915" y="0"/>
                  </a:moveTo>
                  <a:lnTo>
                    <a:pt x="4530" y="6470"/>
                  </a:lnTo>
                  <a:lnTo>
                    <a:pt x="0" y="20355"/>
                  </a:lnTo>
                  <a:lnTo>
                    <a:pt x="6168" y="32211"/>
                  </a:lnTo>
                  <a:lnTo>
                    <a:pt x="19589" y="37012"/>
                  </a:lnTo>
                  <a:lnTo>
                    <a:pt x="32025" y="31230"/>
                  </a:lnTo>
                  <a:lnTo>
                    <a:pt x="37124" y="18425"/>
                  </a:lnTo>
                  <a:lnTo>
                    <a:pt x="36861" y="15304"/>
                  </a:lnTo>
                  <a:lnTo>
                    <a:pt x="30151" y="4296"/>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6" name="object 57">
              <a:extLst>
                <a:ext uri="{FF2B5EF4-FFF2-40B4-BE49-F238E27FC236}">
                  <a16:creationId xmlns:a16="http://schemas.microsoft.com/office/drawing/2014/main" id="{1D763DEE-11F8-744B-62AE-0B0E5FAA7414}"/>
                </a:ext>
              </a:extLst>
            </p:cNvPr>
            <p:cNvSpPr/>
            <p:nvPr/>
          </p:nvSpPr>
          <p:spPr>
            <a:xfrm>
              <a:off x="1013280"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7" name="object 58">
              <a:extLst>
                <a:ext uri="{FF2B5EF4-FFF2-40B4-BE49-F238E27FC236}">
                  <a16:creationId xmlns:a16="http://schemas.microsoft.com/office/drawing/2014/main" id="{A38384F4-17C8-3981-5E4D-FD550E09E625}"/>
                </a:ext>
              </a:extLst>
            </p:cNvPr>
            <p:cNvSpPr/>
            <p:nvPr/>
          </p:nvSpPr>
          <p:spPr>
            <a:xfrm>
              <a:off x="1173253"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8" name="object 59">
              <a:extLst>
                <a:ext uri="{FF2B5EF4-FFF2-40B4-BE49-F238E27FC236}">
                  <a16:creationId xmlns:a16="http://schemas.microsoft.com/office/drawing/2014/main" id="{13874C09-DCE8-D948-229C-54620056ACB1}"/>
                </a:ext>
              </a:extLst>
            </p:cNvPr>
            <p:cNvSpPr/>
            <p:nvPr/>
          </p:nvSpPr>
          <p:spPr>
            <a:xfrm>
              <a:off x="1333231" y="510114"/>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9" name="object 60">
              <a:extLst>
                <a:ext uri="{FF2B5EF4-FFF2-40B4-BE49-F238E27FC236}">
                  <a16:creationId xmlns:a16="http://schemas.microsoft.com/office/drawing/2014/main" id="{AA2E8073-349D-6BD6-D27F-FB3991A2DD51}"/>
                </a:ext>
              </a:extLst>
            </p:cNvPr>
            <p:cNvSpPr/>
            <p:nvPr/>
          </p:nvSpPr>
          <p:spPr>
            <a:xfrm>
              <a:off x="1493221" y="510112"/>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0" name="object 61">
              <a:extLst>
                <a:ext uri="{FF2B5EF4-FFF2-40B4-BE49-F238E27FC236}">
                  <a16:creationId xmlns:a16="http://schemas.microsoft.com/office/drawing/2014/main" id="{2D61A0CC-DBF9-B6DC-9154-37E7F6F58BDF}"/>
                </a:ext>
              </a:extLst>
            </p:cNvPr>
            <p:cNvSpPr/>
            <p:nvPr/>
          </p:nvSpPr>
          <p:spPr>
            <a:xfrm>
              <a:off x="101328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1" name="object 62">
              <a:extLst>
                <a:ext uri="{FF2B5EF4-FFF2-40B4-BE49-F238E27FC236}">
                  <a16:creationId xmlns:a16="http://schemas.microsoft.com/office/drawing/2014/main" id="{D4A0AB48-5DF4-CA1F-8724-F357A61C3A2D}"/>
                </a:ext>
              </a:extLst>
            </p:cNvPr>
            <p:cNvSpPr/>
            <p:nvPr/>
          </p:nvSpPr>
          <p:spPr>
            <a:xfrm>
              <a:off x="1173255"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2" name="object 63">
              <a:extLst>
                <a:ext uri="{FF2B5EF4-FFF2-40B4-BE49-F238E27FC236}">
                  <a16:creationId xmlns:a16="http://schemas.microsoft.com/office/drawing/2014/main" id="{3ADCB732-13CB-112D-BCDE-884722DC6876}"/>
                </a:ext>
              </a:extLst>
            </p:cNvPr>
            <p:cNvSpPr/>
            <p:nvPr/>
          </p:nvSpPr>
          <p:spPr>
            <a:xfrm>
              <a:off x="1333233" y="661839"/>
              <a:ext cx="37465" cy="37465"/>
            </a:xfrm>
            <a:custGeom>
              <a:avLst/>
              <a:gdLst/>
              <a:ahLst/>
              <a:cxnLst/>
              <a:rect l="l" t="t" r="r" b="b"/>
              <a:pathLst>
                <a:path w="37465" h="37465">
                  <a:moveTo>
                    <a:pt x="15910" y="0"/>
                  </a:moveTo>
                  <a:lnTo>
                    <a:pt x="4530" y="6471"/>
                  </a:lnTo>
                  <a:lnTo>
                    <a:pt x="0" y="20363"/>
                  </a:lnTo>
                  <a:lnTo>
                    <a:pt x="6178" y="32213"/>
                  </a:lnTo>
                  <a:lnTo>
                    <a:pt x="19600" y="37010"/>
                  </a:lnTo>
                  <a:lnTo>
                    <a:pt x="32036" y="31228"/>
                  </a:lnTo>
                  <a:lnTo>
                    <a:pt x="37136" y="18423"/>
                  </a:lnTo>
                  <a:lnTo>
                    <a:pt x="36870" y="15286"/>
                  </a:lnTo>
                  <a:lnTo>
                    <a:pt x="30155" y="4286"/>
                  </a:lnTo>
                  <a:lnTo>
                    <a:pt x="15910"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3" name="object 64">
              <a:extLst>
                <a:ext uri="{FF2B5EF4-FFF2-40B4-BE49-F238E27FC236}">
                  <a16:creationId xmlns:a16="http://schemas.microsoft.com/office/drawing/2014/main" id="{C3DB7EEE-C83F-A615-E944-65622E9B3BAF}"/>
                </a:ext>
              </a:extLst>
            </p:cNvPr>
            <p:cNvSpPr/>
            <p:nvPr/>
          </p:nvSpPr>
          <p:spPr>
            <a:xfrm>
              <a:off x="1493222" y="661837"/>
              <a:ext cx="37465" cy="37465"/>
            </a:xfrm>
            <a:custGeom>
              <a:avLst/>
              <a:gdLst/>
              <a:ahLst/>
              <a:cxnLst/>
              <a:rect l="l" t="t" r="r" b="b"/>
              <a:pathLst>
                <a:path w="37465" h="37465">
                  <a:moveTo>
                    <a:pt x="15915" y="0"/>
                  </a:moveTo>
                  <a:lnTo>
                    <a:pt x="4530" y="6465"/>
                  </a:lnTo>
                  <a:lnTo>
                    <a:pt x="0" y="20355"/>
                  </a:lnTo>
                  <a:lnTo>
                    <a:pt x="6168" y="32212"/>
                  </a:lnTo>
                  <a:lnTo>
                    <a:pt x="19589" y="37012"/>
                  </a:lnTo>
                  <a:lnTo>
                    <a:pt x="32025" y="31230"/>
                  </a:lnTo>
                  <a:lnTo>
                    <a:pt x="37124" y="18425"/>
                  </a:lnTo>
                  <a:lnTo>
                    <a:pt x="36861" y="15301"/>
                  </a:lnTo>
                  <a:lnTo>
                    <a:pt x="30151" y="4292"/>
                  </a:lnTo>
                  <a:lnTo>
                    <a:pt x="15915"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4" name="object 65">
              <a:extLst>
                <a:ext uri="{FF2B5EF4-FFF2-40B4-BE49-F238E27FC236}">
                  <a16:creationId xmlns:a16="http://schemas.microsoft.com/office/drawing/2014/main" id="{59A49CDE-6EE4-2312-CAFF-D02B7DC4A004}"/>
                </a:ext>
              </a:extLst>
            </p:cNvPr>
            <p:cNvSpPr/>
            <p:nvPr/>
          </p:nvSpPr>
          <p:spPr>
            <a:xfrm>
              <a:off x="101328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5" name="object 66">
              <a:extLst>
                <a:ext uri="{FF2B5EF4-FFF2-40B4-BE49-F238E27FC236}">
                  <a16:creationId xmlns:a16="http://schemas.microsoft.com/office/drawing/2014/main" id="{8F531B1F-E737-2AD7-65C8-E0F0B091FBCE}"/>
                </a:ext>
              </a:extLst>
            </p:cNvPr>
            <p:cNvSpPr/>
            <p:nvPr/>
          </p:nvSpPr>
          <p:spPr>
            <a:xfrm>
              <a:off x="1173255"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6" name="object 67">
              <a:extLst>
                <a:ext uri="{FF2B5EF4-FFF2-40B4-BE49-F238E27FC236}">
                  <a16:creationId xmlns:a16="http://schemas.microsoft.com/office/drawing/2014/main" id="{49D3D9C9-DAC9-CEDD-7815-166DAF9AE702}"/>
                </a:ext>
              </a:extLst>
            </p:cNvPr>
            <p:cNvSpPr/>
            <p:nvPr/>
          </p:nvSpPr>
          <p:spPr>
            <a:xfrm>
              <a:off x="1333233" y="813546"/>
              <a:ext cx="37465" cy="37465"/>
            </a:xfrm>
            <a:custGeom>
              <a:avLst/>
              <a:gdLst/>
              <a:ahLst/>
              <a:cxnLst/>
              <a:rect l="l" t="t" r="r" b="b"/>
              <a:pathLst>
                <a:path w="37465" h="37465">
                  <a:moveTo>
                    <a:pt x="15901" y="0"/>
                  </a:moveTo>
                  <a:lnTo>
                    <a:pt x="4527" y="6485"/>
                  </a:lnTo>
                  <a:lnTo>
                    <a:pt x="0" y="20374"/>
                  </a:lnTo>
                  <a:lnTo>
                    <a:pt x="6178" y="32223"/>
                  </a:lnTo>
                  <a:lnTo>
                    <a:pt x="19600" y="37021"/>
                  </a:lnTo>
                  <a:lnTo>
                    <a:pt x="32036" y="31239"/>
                  </a:lnTo>
                  <a:lnTo>
                    <a:pt x="37136" y="18434"/>
                  </a:lnTo>
                  <a:lnTo>
                    <a:pt x="36867" y="15285"/>
                  </a:lnTo>
                  <a:lnTo>
                    <a:pt x="30147" y="4289"/>
                  </a:lnTo>
                  <a:lnTo>
                    <a:pt x="15901"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7" name="object 68">
              <a:extLst>
                <a:ext uri="{FF2B5EF4-FFF2-40B4-BE49-F238E27FC236}">
                  <a16:creationId xmlns:a16="http://schemas.microsoft.com/office/drawing/2014/main" id="{35FF5AB6-E725-A4FB-641D-C2408ACB9926}"/>
                </a:ext>
              </a:extLst>
            </p:cNvPr>
            <p:cNvSpPr/>
            <p:nvPr/>
          </p:nvSpPr>
          <p:spPr>
            <a:xfrm>
              <a:off x="1493222" y="813544"/>
              <a:ext cx="37465" cy="37465"/>
            </a:xfrm>
            <a:custGeom>
              <a:avLst/>
              <a:gdLst/>
              <a:ahLst/>
              <a:cxnLst/>
              <a:rect l="l" t="t" r="r" b="b"/>
              <a:pathLst>
                <a:path w="37465" h="37465">
                  <a:moveTo>
                    <a:pt x="15906" y="0"/>
                  </a:moveTo>
                  <a:lnTo>
                    <a:pt x="4528" y="6479"/>
                  </a:lnTo>
                  <a:lnTo>
                    <a:pt x="0" y="20366"/>
                  </a:lnTo>
                  <a:lnTo>
                    <a:pt x="6168" y="32223"/>
                  </a:lnTo>
                  <a:lnTo>
                    <a:pt x="19589" y="37023"/>
                  </a:lnTo>
                  <a:lnTo>
                    <a:pt x="32025" y="31241"/>
                  </a:lnTo>
                  <a:lnTo>
                    <a:pt x="37124" y="18436"/>
                  </a:lnTo>
                  <a:lnTo>
                    <a:pt x="36858" y="15300"/>
                  </a:lnTo>
                  <a:lnTo>
                    <a:pt x="30143" y="4295"/>
                  </a:lnTo>
                  <a:lnTo>
                    <a:pt x="15906"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8" name="object 69">
              <a:extLst>
                <a:ext uri="{FF2B5EF4-FFF2-40B4-BE49-F238E27FC236}">
                  <a16:creationId xmlns:a16="http://schemas.microsoft.com/office/drawing/2014/main" id="{8BB9BE34-F97A-3640-9CD5-62572737D2EE}"/>
                </a:ext>
              </a:extLst>
            </p:cNvPr>
            <p:cNvSpPr/>
            <p:nvPr/>
          </p:nvSpPr>
          <p:spPr>
            <a:xfrm>
              <a:off x="1013280"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9" name="object 70">
              <a:extLst>
                <a:ext uri="{FF2B5EF4-FFF2-40B4-BE49-F238E27FC236}">
                  <a16:creationId xmlns:a16="http://schemas.microsoft.com/office/drawing/2014/main" id="{446A3A36-643B-72DC-0EA5-C1D6C3672FC4}"/>
                </a:ext>
              </a:extLst>
            </p:cNvPr>
            <p:cNvSpPr/>
            <p:nvPr/>
          </p:nvSpPr>
          <p:spPr>
            <a:xfrm>
              <a:off x="1173253"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0" name="object 71">
              <a:extLst>
                <a:ext uri="{FF2B5EF4-FFF2-40B4-BE49-F238E27FC236}">
                  <a16:creationId xmlns:a16="http://schemas.microsoft.com/office/drawing/2014/main" id="{7B51860A-C694-CBCC-6654-02313FDE3112}"/>
                </a:ext>
              </a:extLst>
            </p:cNvPr>
            <p:cNvSpPr/>
            <p:nvPr/>
          </p:nvSpPr>
          <p:spPr>
            <a:xfrm>
              <a:off x="1333231" y="965267"/>
              <a:ext cx="37465" cy="37465"/>
            </a:xfrm>
            <a:custGeom>
              <a:avLst/>
              <a:gdLst/>
              <a:ahLst/>
              <a:cxnLst/>
              <a:rect l="l" t="t" r="r" b="b"/>
              <a:pathLst>
                <a:path w="37465" h="37465">
                  <a:moveTo>
                    <a:pt x="15918" y="0"/>
                  </a:moveTo>
                  <a:lnTo>
                    <a:pt x="4533" y="6473"/>
                  </a:lnTo>
                  <a:lnTo>
                    <a:pt x="0" y="20357"/>
                  </a:lnTo>
                  <a:lnTo>
                    <a:pt x="6172" y="32209"/>
                  </a:lnTo>
                  <a:lnTo>
                    <a:pt x="19592" y="37011"/>
                  </a:lnTo>
                  <a:lnTo>
                    <a:pt x="32035" y="31233"/>
                  </a:lnTo>
                  <a:lnTo>
                    <a:pt x="37138" y="18436"/>
                  </a:lnTo>
                  <a:lnTo>
                    <a:pt x="36871" y="15296"/>
                  </a:lnTo>
                  <a:lnTo>
                    <a:pt x="30156" y="4291"/>
                  </a:lnTo>
                  <a:lnTo>
                    <a:pt x="15918"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91" name="object 72">
              <a:extLst>
                <a:ext uri="{FF2B5EF4-FFF2-40B4-BE49-F238E27FC236}">
                  <a16:creationId xmlns:a16="http://schemas.microsoft.com/office/drawing/2014/main" id="{04C00476-EE28-76CD-B6F8-E55305774099}"/>
                </a:ext>
              </a:extLst>
            </p:cNvPr>
            <p:cNvSpPr/>
            <p:nvPr/>
          </p:nvSpPr>
          <p:spPr>
            <a:xfrm>
              <a:off x="1493221" y="965265"/>
              <a:ext cx="37465" cy="37465"/>
            </a:xfrm>
            <a:custGeom>
              <a:avLst/>
              <a:gdLst/>
              <a:ahLst/>
              <a:cxnLst/>
              <a:rect l="l" t="t" r="r" b="b"/>
              <a:pathLst>
                <a:path w="37465" h="37465">
                  <a:moveTo>
                    <a:pt x="15922" y="0"/>
                  </a:moveTo>
                  <a:lnTo>
                    <a:pt x="4534" y="6468"/>
                  </a:lnTo>
                  <a:lnTo>
                    <a:pt x="0" y="20349"/>
                  </a:lnTo>
                  <a:lnTo>
                    <a:pt x="6162" y="32208"/>
                  </a:lnTo>
                  <a:lnTo>
                    <a:pt x="19580" y="37013"/>
                  </a:lnTo>
                  <a:lnTo>
                    <a:pt x="32023" y="31236"/>
                  </a:lnTo>
                  <a:lnTo>
                    <a:pt x="37126" y="18438"/>
                  </a:lnTo>
                  <a:lnTo>
                    <a:pt x="36862" y="15311"/>
                  </a:lnTo>
                  <a:lnTo>
                    <a:pt x="30152" y="4297"/>
                  </a:lnTo>
                  <a:lnTo>
                    <a:pt x="15922" y="0"/>
                  </a:lnTo>
                  <a:close/>
                </a:path>
              </a:pathLst>
            </a:custGeom>
            <a:solidFill>
              <a:srgbClr val="60606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grpSp>
      <p:sp>
        <p:nvSpPr>
          <p:cNvPr id="92" name="object 6">
            <a:extLst>
              <a:ext uri="{FF2B5EF4-FFF2-40B4-BE49-F238E27FC236}">
                <a16:creationId xmlns:a16="http://schemas.microsoft.com/office/drawing/2014/main" id="{06600D88-5EFC-D3E2-57B7-591D06B82A3B}"/>
              </a:ext>
            </a:extLst>
          </p:cNvPr>
          <p:cNvSpPr/>
          <p:nvPr/>
        </p:nvSpPr>
        <p:spPr>
          <a:xfrm>
            <a:off x="0" y="0"/>
            <a:ext cx="778669" cy="787718"/>
          </a:xfrm>
          <a:custGeom>
            <a:avLst/>
            <a:gdLst/>
            <a:ahLst/>
            <a:cxnLst/>
            <a:rect l="l" t="t" r="r" b="b"/>
            <a:pathLst>
              <a:path w="1038225" h="1050290">
                <a:moveTo>
                  <a:pt x="1036748" y="0"/>
                </a:moveTo>
                <a:lnTo>
                  <a:pt x="0" y="0"/>
                </a:lnTo>
                <a:lnTo>
                  <a:pt x="0" y="1049691"/>
                </a:lnTo>
                <a:lnTo>
                  <a:pt x="9282" y="1050066"/>
                </a:lnTo>
                <a:lnTo>
                  <a:pt x="93623" y="1046657"/>
                </a:lnTo>
                <a:lnTo>
                  <a:pt x="176086" y="1036606"/>
                </a:lnTo>
                <a:lnTo>
                  <a:pt x="256407" y="1020179"/>
                </a:lnTo>
                <a:lnTo>
                  <a:pt x="334320" y="997639"/>
                </a:lnTo>
                <a:lnTo>
                  <a:pt x="409562" y="969252"/>
                </a:lnTo>
                <a:lnTo>
                  <a:pt x="481868" y="935282"/>
                </a:lnTo>
                <a:lnTo>
                  <a:pt x="550972" y="895994"/>
                </a:lnTo>
                <a:lnTo>
                  <a:pt x="616611" y="851653"/>
                </a:lnTo>
                <a:lnTo>
                  <a:pt x="678520" y="802522"/>
                </a:lnTo>
                <a:lnTo>
                  <a:pt x="736433" y="748868"/>
                </a:lnTo>
                <a:lnTo>
                  <a:pt x="790087" y="690954"/>
                </a:lnTo>
                <a:lnTo>
                  <a:pt x="839217" y="629045"/>
                </a:lnTo>
                <a:lnTo>
                  <a:pt x="883558" y="563406"/>
                </a:lnTo>
                <a:lnTo>
                  <a:pt x="922845" y="494302"/>
                </a:lnTo>
                <a:lnTo>
                  <a:pt x="956815" y="421996"/>
                </a:lnTo>
                <a:lnTo>
                  <a:pt x="985201" y="346755"/>
                </a:lnTo>
                <a:lnTo>
                  <a:pt x="1007740" y="268842"/>
                </a:lnTo>
                <a:lnTo>
                  <a:pt x="1024167" y="188522"/>
                </a:lnTo>
                <a:lnTo>
                  <a:pt x="1034217" y="106061"/>
                </a:lnTo>
                <a:lnTo>
                  <a:pt x="1037626" y="21721"/>
                </a:lnTo>
                <a:lnTo>
                  <a:pt x="1036748" y="0"/>
                </a:lnTo>
              </a:path>
            </a:pathLst>
          </a:custGeom>
          <a:solidFill>
            <a:srgbClr val="5F2364"/>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97">
            <a:extLst>
              <a:ext uri="{FF2B5EF4-FFF2-40B4-BE49-F238E27FC236}">
                <a16:creationId xmlns:a16="http://schemas.microsoft.com/office/drawing/2014/main" id="{5F1CC7C3-7A48-9975-2DB3-6EF35DBF123D}"/>
              </a:ext>
            </a:extLst>
          </p:cNvPr>
          <p:cNvSpPr/>
          <p:nvPr/>
        </p:nvSpPr>
        <p:spPr>
          <a:xfrm flipV="1">
            <a:off x="1165919" y="758659"/>
            <a:ext cx="4915624" cy="45719"/>
          </a:xfrm>
          <a:custGeom>
            <a:avLst/>
            <a:gdLst/>
            <a:ahLst/>
            <a:cxnLst/>
            <a:rect l="l" t="t" r="r" b="b"/>
            <a:pathLst>
              <a:path w="3352800">
                <a:moveTo>
                  <a:pt x="0" y="0"/>
                </a:moveTo>
                <a:lnTo>
                  <a:pt x="3352800" y="0"/>
                </a:lnTo>
              </a:path>
            </a:pathLst>
          </a:custGeom>
          <a:ln w="50800">
            <a:solidFill>
              <a:schemeClr val="accent5">
                <a:lumMod val="50000"/>
              </a:schemeClr>
            </a:solidFill>
          </a:ln>
        </p:spPr>
        <p:txBody>
          <a:bodyPr wrap="square" lIns="0" tIns="0" rIns="0" bIns="0" rtlCol="0"/>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 name="object 2">
            <a:extLst>
              <a:ext uri="{FF2B5EF4-FFF2-40B4-BE49-F238E27FC236}">
                <a16:creationId xmlns:a16="http://schemas.microsoft.com/office/drawing/2014/main" id="{F52098EF-AC72-30EB-B718-DD9CE83693D0}"/>
              </a:ext>
            </a:extLst>
          </p:cNvPr>
          <p:cNvSpPr/>
          <p:nvPr/>
        </p:nvSpPr>
        <p:spPr>
          <a:xfrm>
            <a:off x="8961780" y="1"/>
            <a:ext cx="1484948" cy="966311"/>
          </a:xfrm>
          <a:custGeom>
            <a:avLst/>
            <a:gdLst/>
            <a:ahLst/>
            <a:cxnLst/>
            <a:rect l="l" t="t" r="r" b="b"/>
            <a:pathLst>
              <a:path w="1979930" h="1288415">
                <a:moveTo>
                  <a:pt x="596671" y="0"/>
                </a:moveTo>
                <a:lnTo>
                  <a:pt x="142598" y="454076"/>
                </a:lnTo>
                <a:lnTo>
                  <a:pt x="115505" y="483471"/>
                </a:lnTo>
                <a:lnTo>
                  <a:pt x="91263" y="514499"/>
                </a:lnTo>
                <a:lnTo>
                  <a:pt x="69873" y="546979"/>
                </a:lnTo>
                <a:lnTo>
                  <a:pt x="51335" y="580730"/>
                </a:lnTo>
                <a:lnTo>
                  <a:pt x="35649" y="615570"/>
                </a:lnTo>
                <a:lnTo>
                  <a:pt x="12833" y="687791"/>
                </a:lnTo>
                <a:lnTo>
                  <a:pt x="1425" y="762190"/>
                </a:lnTo>
                <a:lnTo>
                  <a:pt x="0" y="799752"/>
                </a:lnTo>
                <a:lnTo>
                  <a:pt x="1425" y="837315"/>
                </a:lnTo>
                <a:lnTo>
                  <a:pt x="12833" y="911714"/>
                </a:lnTo>
                <a:lnTo>
                  <a:pt x="35649" y="983936"/>
                </a:lnTo>
                <a:lnTo>
                  <a:pt x="51335" y="1018777"/>
                </a:lnTo>
                <a:lnTo>
                  <a:pt x="69873" y="1052529"/>
                </a:lnTo>
                <a:lnTo>
                  <a:pt x="91263" y="1085011"/>
                </a:lnTo>
                <a:lnTo>
                  <a:pt x="115505" y="1116041"/>
                </a:lnTo>
                <a:lnTo>
                  <a:pt x="142598" y="1145438"/>
                </a:lnTo>
                <a:lnTo>
                  <a:pt x="171995" y="1172532"/>
                </a:lnTo>
                <a:lnTo>
                  <a:pt x="203025" y="1196774"/>
                </a:lnTo>
                <a:lnTo>
                  <a:pt x="235507" y="1218163"/>
                </a:lnTo>
                <a:lnTo>
                  <a:pt x="269259" y="1236701"/>
                </a:lnTo>
                <a:lnTo>
                  <a:pt x="304100" y="1252387"/>
                </a:lnTo>
                <a:lnTo>
                  <a:pt x="376322" y="1275203"/>
                </a:lnTo>
                <a:lnTo>
                  <a:pt x="450722" y="1286611"/>
                </a:lnTo>
                <a:lnTo>
                  <a:pt x="488284" y="1288037"/>
                </a:lnTo>
                <a:lnTo>
                  <a:pt x="525847" y="1286611"/>
                </a:lnTo>
                <a:lnTo>
                  <a:pt x="600246" y="1275203"/>
                </a:lnTo>
                <a:lnTo>
                  <a:pt x="672466" y="1252387"/>
                </a:lnTo>
                <a:lnTo>
                  <a:pt x="707306" y="1236701"/>
                </a:lnTo>
                <a:lnTo>
                  <a:pt x="741057" y="1218163"/>
                </a:lnTo>
                <a:lnTo>
                  <a:pt x="773537" y="1196774"/>
                </a:lnTo>
                <a:lnTo>
                  <a:pt x="804566" y="1172532"/>
                </a:lnTo>
                <a:lnTo>
                  <a:pt x="833961" y="1145438"/>
                </a:lnTo>
                <a:lnTo>
                  <a:pt x="1979399" y="0"/>
                </a:lnTo>
                <a:lnTo>
                  <a:pt x="596671" y="0"/>
                </a:lnTo>
              </a:path>
            </a:pathLst>
          </a:custGeom>
          <a:solidFill>
            <a:srgbClr val="FFFFFF"/>
          </a:solidFill>
          <a:effectLst>
            <a:outerShdw blurRad="317500" dist="50800" dir="5400000" algn="ctr" rotWithShape="0">
              <a:schemeClr val="tx1">
                <a:alpha val="20000"/>
              </a:schemeClr>
            </a:outerShdw>
          </a:effectLst>
        </p:spPr>
        <p:txBody>
          <a:bodyPr wrap="square" lIns="0" tIns="0" rIns="0" bIns="0" rtlCol="0"/>
          <a:lstStyle/>
          <a:p>
            <a:endParaRPr sz="1350"/>
          </a:p>
        </p:txBody>
      </p:sp>
      <p:sp>
        <p:nvSpPr>
          <p:cNvPr id="109" name="Rectangle 108">
            <a:extLst>
              <a:ext uri="{FF2B5EF4-FFF2-40B4-BE49-F238E27FC236}">
                <a16:creationId xmlns:a16="http://schemas.microsoft.com/office/drawing/2014/main" id="{67B4EF2F-C649-067D-A9FA-7707680A92E7}"/>
              </a:ext>
            </a:extLst>
          </p:cNvPr>
          <p:cNvSpPr/>
          <p:nvPr/>
        </p:nvSpPr>
        <p:spPr>
          <a:xfrm>
            <a:off x="7581552" y="2233989"/>
            <a:ext cx="4386872" cy="1054182"/>
          </a:xfrm>
          <a:prstGeom prst="rect">
            <a:avLst/>
          </a:prstGeom>
          <a:noFill/>
          <a:ln w="9525">
            <a:solidFill>
              <a:srgbClr val="E9488B"/>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61200" rIns="61200" bIns="61200" numCol="1" spcCol="0" rtlCol="0" fromWordArt="0" anchor="ctr" anchorCtr="0" forceAA="0" compatLnSpc="1">
            <a:prstTxWarp prst="textNoShape">
              <a:avLst/>
            </a:prstTxWarp>
            <a:noAutofit/>
          </a:bodyPr>
          <a:lstStyle/>
          <a:p>
            <a:r>
              <a:rPr lang="es-MX" sz="1400" b="1" dirty="0">
                <a:solidFill>
                  <a:schemeClr val="tx2"/>
                </a:solidFill>
                <a:latin typeface="Century Gothic" panose="020B0502020202020204" pitchFamily="34" charset="0"/>
              </a:rPr>
              <a:t>¿Se implementan las políticas de riesgo del modelo de forma eficiente y efectiva a lo largo de todo el ciclo de vida del modelo?</a:t>
            </a:r>
            <a:endParaRPr lang="en-GB" sz="1400" b="1" dirty="0">
              <a:solidFill>
                <a:schemeClr val="tx2"/>
              </a:solidFill>
              <a:latin typeface="Century Gothic" panose="020B0502020202020204" pitchFamily="34" charset="0"/>
            </a:endParaRPr>
          </a:p>
        </p:txBody>
      </p:sp>
      <p:sp>
        <p:nvSpPr>
          <p:cNvPr id="110" name="Oval 109">
            <a:extLst>
              <a:ext uri="{FF2B5EF4-FFF2-40B4-BE49-F238E27FC236}">
                <a16:creationId xmlns:a16="http://schemas.microsoft.com/office/drawing/2014/main" id="{E1DE74B2-A8F2-B1C6-64B1-4CEDBB4D1108}"/>
              </a:ext>
            </a:extLst>
          </p:cNvPr>
          <p:cNvSpPr/>
          <p:nvPr/>
        </p:nvSpPr>
        <p:spPr>
          <a:xfrm>
            <a:off x="7164921" y="2041746"/>
            <a:ext cx="596461" cy="549073"/>
          </a:xfrm>
          <a:prstGeom prst="ellipse">
            <a:avLst/>
          </a:prstGeom>
          <a:solidFill>
            <a:srgbClr val="F2F2F2"/>
          </a:solidFill>
          <a:ln w="57150">
            <a:solidFill>
              <a:srgbClr val="E948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r>
              <a:rPr lang="en-GB" sz="1600" b="1" dirty="0">
                <a:solidFill>
                  <a:schemeClr val="tx1"/>
                </a:solidFill>
                <a:latin typeface="Century Gothic" panose="020B0502020202020204" pitchFamily="34" charset="0"/>
              </a:rPr>
              <a:t>1</a:t>
            </a:r>
          </a:p>
        </p:txBody>
      </p:sp>
      <p:sp>
        <p:nvSpPr>
          <p:cNvPr id="111" name="Rectangle 110">
            <a:extLst>
              <a:ext uri="{FF2B5EF4-FFF2-40B4-BE49-F238E27FC236}">
                <a16:creationId xmlns:a16="http://schemas.microsoft.com/office/drawing/2014/main" id="{7B6E6E00-C560-6764-0218-6B665BE9A58C}"/>
              </a:ext>
            </a:extLst>
          </p:cNvPr>
          <p:cNvSpPr/>
          <p:nvPr/>
        </p:nvSpPr>
        <p:spPr>
          <a:xfrm>
            <a:off x="7581552" y="3658744"/>
            <a:ext cx="4386872" cy="1054182"/>
          </a:xfrm>
          <a:prstGeom prst="rect">
            <a:avLst/>
          </a:prstGeom>
          <a:noFill/>
          <a:ln w="9525">
            <a:solidFill>
              <a:srgbClr val="E9488B"/>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61200" rIns="61200" bIns="61200" numCol="1" spcCol="0" rtlCol="0" fromWordArt="0" anchor="ctr" anchorCtr="0" forceAA="0" compatLnSpc="1">
            <a:prstTxWarp prst="textNoShape">
              <a:avLst/>
            </a:prstTxWarp>
            <a:noAutofit/>
          </a:bodyPr>
          <a:lstStyle/>
          <a:p>
            <a:pPr algn="just"/>
            <a:r>
              <a:rPr lang="es-MX" sz="1400" b="1" dirty="0">
                <a:solidFill>
                  <a:schemeClr val="tx2"/>
                </a:solidFill>
                <a:latin typeface="Century Gothic" panose="020B0502020202020204" pitchFamily="34" charset="0"/>
              </a:rPr>
              <a:t>¿Existe un principio de apetito de riesgo de modelo efectivo a nivel de grupo que se traslade eficientemente y se monitoree de manera efectiva en todos los tipos de riesgo?</a:t>
            </a:r>
            <a:endParaRPr lang="en-GB" sz="1400" b="1" dirty="0">
              <a:solidFill>
                <a:schemeClr val="tx2"/>
              </a:solidFill>
              <a:latin typeface="Century Gothic" panose="020B0502020202020204" pitchFamily="34" charset="0"/>
            </a:endParaRPr>
          </a:p>
        </p:txBody>
      </p:sp>
      <p:sp>
        <p:nvSpPr>
          <p:cNvPr id="112" name="Oval 111">
            <a:extLst>
              <a:ext uri="{FF2B5EF4-FFF2-40B4-BE49-F238E27FC236}">
                <a16:creationId xmlns:a16="http://schemas.microsoft.com/office/drawing/2014/main" id="{E03662DE-3329-51A9-6B37-1F44E1A5BAD7}"/>
              </a:ext>
            </a:extLst>
          </p:cNvPr>
          <p:cNvSpPr/>
          <p:nvPr/>
        </p:nvSpPr>
        <p:spPr>
          <a:xfrm>
            <a:off x="7210203" y="3480414"/>
            <a:ext cx="596461" cy="549073"/>
          </a:xfrm>
          <a:prstGeom prst="ellipse">
            <a:avLst/>
          </a:prstGeom>
          <a:solidFill>
            <a:srgbClr val="F2F2F2"/>
          </a:solidFill>
          <a:ln w="57150">
            <a:solidFill>
              <a:srgbClr val="E948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r>
              <a:rPr lang="en-GB" sz="1600" b="1" dirty="0">
                <a:solidFill>
                  <a:schemeClr val="tx1"/>
                </a:solidFill>
                <a:latin typeface="Century Gothic" panose="020B0502020202020204" pitchFamily="34" charset="0"/>
              </a:rPr>
              <a:t>2</a:t>
            </a:r>
          </a:p>
        </p:txBody>
      </p:sp>
      <p:sp>
        <p:nvSpPr>
          <p:cNvPr id="113" name="Rectangle 112">
            <a:extLst>
              <a:ext uri="{FF2B5EF4-FFF2-40B4-BE49-F238E27FC236}">
                <a16:creationId xmlns:a16="http://schemas.microsoft.com/office/drawing/2014/main" id="{94C73208-9049-2AC1-ADCD-74AA0EAACFAC}"/>
              </a:ext>
            </a:extLst>
          </p:cNvPr>
          <p:cNvSpPr/>
          <p:nvPr/>
        </p:nvSpPr>
        <p:spPr>
          <a:xfrm>
            <a:off x="7581552" y="5090167"/>
            <a:ext cx="4386872" cy="1054182"/>
          </a:xfrm>
          <a:prstGeom prst="rect">
            <a:avLst/>
          </a:prstGeom>
          <a:noFill/>
          <a:ln w="9525">
            <a:solidFill>
              <a:srgbClr val="E9488B"/>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61200" rIns="61200" bIns="61200" numCol="1" spcCol="0" rtlCol="0" fromWordArt="0" anchor="ctr" anchorCtr="0" forceAA="0" compatLnSpc="1">
            <a:prstTxWarp prst="textNoShape">
              <a:avLst/>
            </a:prstTxWarp>
            <a:noAutofit/>
          </a:bodyPr>
          <a:lstStyle/>
          <a:p>
            <a:pPr algn="just"/>
            <a:r>
              <a:rPr lang="es-MX" sz="1400" b="1" dirty="0">
                <a:solidFill>
                  <a:schemeClr val="tx2"/>
                </a:solidFill>
                <a:latin typeface="Century Gothic" panose="020B0502020202020204" pitchFamily="34" charset="0"/>
              </a:rPr>
              <a:t>¿Cómo es el </a:t>
            </a:r>
            <a:r>
              <a:rPr lang="es-MX" sz="1400" b="1" i="1" dirty="0">
                <a:solidFill>
                  <a:schemeClr val="tx2"/>
                </a:solidFill>
                <a:latin typeface="Century Gothic" panose="020B0502020202020204" pitchFamily="34" charset="0"/>
              </a:rPr>
              <a:t>target </a:t>
            </a:r>
            <a:r>
              <a:rPr lang="en-US" sz="1400" b="1" i="1" noProof="0" dirty="0">
                <a:solidFill>
                  <a:schemeClr val="tx2"/>
                </a:solidFill>
                <a:latin typeface="Century Gothic" panose="020B0502020202020204" pitchFamily="34" charset="0"/>
              </a:rPr>
              <a:t>operating model </a:t>
            </a:r>
            <a:r>
              <a:rPr lang="es-MX" sz="1400" b="1" dirty="0">
                <a:solidFill>
                  <a:schemeClr val="tx2"/>
                </a:solidFill>
                <a:latin typeface="Century Gothic" panose="020B0502020202020204" pitchFamily="34" charset="0"/>
              </a:rPr>
              <a:t>para la gestión de riesgos de modelos considerando el creciente número de modelos requeridos en la industria bajo una presión constante de costos?</a:t>
            </a:r>
            <a:endParaRPr lang="en-GB" sz="1400" b="1" dirty="0">
              <a:solidFill>
                <a:schemeClr val="tx2"/>
              </a:solidFill>
              <a:latin typeface="Century Gothic" panose="020B0502020202020204" pitchFamily="34" charset="0"/>
            </a:endParaRPr>
          </a:p>
        </p:txBody>
      </p:sp>
      <p:sp>
        <p:nvSpPr>
          <p:cNvPr id="114" name="Oval 113">
            <a:extLst>
              <a:ext uri="{FF2B5EF4-FFF2-40B4-BE49-F238E27FC236}">
                <a16:creationId xmlns:a16="http://schemas.microsoft.com/office/drawing/2014/main" id="{A6438E17-1562-A117-E7AC-448973FCC991}"/>
              </a:ext>
            </a:extLst>
          </p:cNvPr>
          <p:cNvSpPr/>
          <p:nvPr/>
        </p:nvSpPr>
        <p:spPr>
          <a:xfrm>
            <a:off x="7255484" y="4860457"/>
            <a:ext cx="551180" cy="549073"/>
          </a:xfrm>
          <a:prstGeom prst="ellipse">
            <a:avLst/>
          </a:prstGeom>
          <a:solidFill>
            <a:srgbClr val="F2F2F2"/>
          </a:solidFill>
          <a:ln w="57150">
            <a:solidFill>
              <a:srgbClr val="E948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r>
              <a:rPr lang="en-GB" sz="1600" b="1" dirty="0">
                <a:solidFill>
                  <a:schemeClr val="tx1"/>
                </a:solidFill>
                <a:latin typeface="Century Gothic" panose="020B0502020202020204" pitchFamily="34" charset="0"/>
              </a:rPr>
              <a:t>3</a:t>
            </a:r>
          </a:p>
        </p:txBody>
      </p:sp>
      <p:pic>
        <p:nvPicPr>
          <p:cNvPr id="115" name="Picture 114">
            <a:extLst>
              <a:ext uri="{FF2B5EF4-FFF2-40B4-BE49-F238E27FC236}">
                <a16:creationId xmlns:a16="http://schemas.microsoft.com/office/drawing/2014/main" id="{268F7D47-2C2E-CF58-8F93-5F446BD8EB35}"/>
              </a:ext>
            </a:extLst>
          </p:cNvPr>
          <p:cNvPicPr>
            <a:picLocks noChangeAspect="1"/>
          </p:cNvPicPr>
          <p:nvPr/>
        </p:nvPicPr>
        <p:blipFill>
          <a:blip r:embed="rId3"/>
          <a:stretch>
            <a:fillRect/>
          </a:stretch>
        </p:blipFill>
        <p:spPr>
          <a:xfrm>
            <a:off x="177653" y="2174347"/>
            <a:ext cx="6846875" cy="3834250"/>
          </a:xfrm>
          <a:prstGeom prst="rect">
            <a:avLst/>
          </a:prstGeom>
        </p:spPr>
      </p:pic>
      <p:sp>
        <p:nvSpPr>
          <p:cNvPr id="116" name="TextBox 115">
            <a:extLst>
              <a:ext uri="{FF2B5EF4-FFF2-40B4-BE49-F238E27FC236}">
                <a16:creationId xmlns:a16="http://schemas.microsoft.com/office/drawing/2014/main" id="{640D644A-335C-CBB1-3593-6766ED2B38D1}"/>
              </a:ext>
            </a:extLst>
          </p:cNvPr>
          <p:cNvSpPr txBox="1"/>
          <p:nvPr/>
        </p:nvSpPr>
        <p:spPr>
          <a:xfrm>
            <a:off x="494244" y="1416970"/>
            <a:ext cx="10972800" cy="523220"/>
          </a:xfrm>
          <a:prstGeom prst="rect">
            <a:avLst/>
          </a:prstGeom>
          <a:noFill/>
        </p:spPr>
        <p:txBody>
          <a:bodyPr wrap="square">
            <a:spAutoFit/>
          </a:bodyPr>
          <a:lstStyle/>
          <a:p>
            <a:r>
              <a:rPr lang="es-MX" sz="1400" i="1" kern="0" dirty="0">
                <a:solidFill>
                  <a:srgbClr val="6E4494"/>
                </a:solidFill>
                <a:latin typeface="Century Gothic" panose="020B0502020202020204" pitchFamily="34" charset="0"/>
              </a:rPr>
              <a:t>Riesgo de pérdida derivado de predicciones imprecisas de los modelos, lo  que puede derivar  en decisiones sub-óptimas, o de la implementación o uso inadecuado de un modelo.</a:t>
            </a:r>
          </a:p>
        </p:txBody>
      </p:sp>
    </p:spTree>
    <p:extLst>
      <p:ext uri="{BB962C8B-B14F-4D97-AF65-F5344CB8AC3E}">
        <p14:creationId xmlns:p14="http://schemas.microsoft.com/office/powerpoint/2010/main" val="3543130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BAC15-4F31-3F44-D809-67F4DE4A975B}"/>
            </a:ext>
          </a:extLst>
        </p:cNvPr>
        <p:cNvGrpSpPr/>
        <p:nvPr/>
      </p:nvGrpSpPr>
      <p:grpSpPr>
        <a:xfrm>
          <a:off x="0" y="0"/>
          <a:ext cx="0" cy="0"/>
          <a:chOff x="0" y="0"/>
          <a:chExt cx="0" cy="0"/>
        </a:xfrm>
      </p:grpSpPr>
      <p:sp>
        <p:nvSpPr>
          <p:cNvPr id="11" name="Rectángulo 10">
            <a:extLst>
              <a:ext uri="{FF2B5EF4-FFF2-40B4-BE49-F238E27FC236}">
                <a16:creationId xmlns:a16="http://schemas.microsoft.com/office/drawing/2014/main" id="{AA15C415-3D9A-E764-F407-4F15DDCDE655}"/>
              </a:ext>
            </a:extLst>
          </p:cNvPr>
          <p:cNvSpPr/>
          <p:nvPr/>
        </p:nvSpPr>
        <p:spPr>
          <a:xfrm>
            <a:off x="10779" y="-10946"/>
            <a:ext cx="12192092" cy="6858000"/>
          </a:xfrm>
          <a:prstGeom prst="rect">
            <a:avLst/>
          </a:prstGeom>
          <a:gradFill>
            <a:gsLst>
              <a:gs pos="1000">
                <a:srgbClr val="F4F1F6">
                  <a:alpha val="0"/>
                </a:srgbClr>
              </a:gs>
              <a:gs pos="100000">
                <a:srgbClr val="F4F1F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ángulo 3">
            <a:extLst>
              <a:ext uri="{FF2B5EF4-FFF2-40B4-BE49-F238E27FC236}">
                <a16:creationId xmlns:a16="http://schemas.microsoft.com/office/drawing/2014/main" id="{DD75C0F0-7A41-C5D5-5224-55EC3012FF3F}"/>
              </a:ext>
            </a:extLst>
          </p:cNvPr>
          <p:cNvSpPr/>
          <p:nvPr/>
        </p:nvSpPr>
        <p:spPr>
          <a:xfrm>
            <a:off x="-92" y="0"/>
            <a:ext cx="3454492" cy="6858000"/>
          </a:xfrm>
          <a:prstGeom prst="rect">
            <a:avLst/>
          </a:prstGeom>
          <a:gradFill flip="none" rotWithShape="1">
            <a:gsLst>
              <a:gs pos="1000">
                <a:srgbClr val="525C9C"/>
              </a:gs>
              <a:gs pos="100000">
                <a:srgbClr val="5F2364"/>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1" name="CuadroTexto 30">
            <a:extLst>
              <a:ext uri="{FF2B5EF4-FFF2-40B4-BE49-F238E27FC236}">
                <a16:creationId xmlns:a16="http://schemas.microsoft.com/office/drawing/2014/main" id="{EEDB96B5-C8F5-C9EE-E1FC-C94E6A5F33C1}"/>
              </a:ext>
            </a:extLst>
          </p:cNvPr>
          <p:cNvSpPr txBox="1"/>
          <p:nvPr/>
        </p:nvSpPr>
        <p:spPr>
          <a:xfrm>
            <a:off x="498978" y="497305"/>
            <a:ext cx="2592566" cy="1037720"/>
          </a:xfrm>
          <a:prstGeom prst="rect">
            <a:avLst/>
          </a:prstGeom>
          <a:noFill/>
        </p:spPr>
        <p:txBody>
          <a:bodyPr wrap="square" rtlCol="0">
            <a:spAutoFit/>
          </a:bodyPr>
          <a:lstStyle/>
          <a:p>
            <a:pPr>
              <a:lnSpc>
                <a:spcPct val="115000"/>
              </a:lnSpc>
              <a:spcAft>
                <a:spcPts val="800"/>
              </a:spcAft>
            </a:pPr>
            <a:r>
              <a:rPr lang="es-CO" sz="2800" b="1" kern="100" dirty="0">
                <a:solidFill>
                  <a:schemeClr val="bg1"/>
                </a:solidFill>
                <a:latin typeface="Century Gothic" panose="020B0502020202020204" pitchFamily="34" charset="0"/>
                <a:ea typeface="Tahoma" panose="020B0604030504040204" pitchFamily="34" charset="0"/>
                <a:cs typeface="Tahoma" panose="020B0604030504040204" pitchFamily="34" charset="0"/>
              </a:rPr>
              <a:t>Riesgo de Modelo </a:t>
            </a:r>
          </a:p>
        </p:txBody>
      </p:sp>
      <p:sp>
        <p:nvSpPr>
          <p:cNvPr id="38" name="Rectángulo redondeado 37">
            <a:extLst>
              <a:ext uri="{FF2B5EF4-FFF2-40B4-BE49-F238E27FC236}">
                <a16:creationId xmlns:a16="http://schemas.microsoft.com/office/drawing/2014/main" id="{E5357B2D-5ABF-870C-EC01-FD7F494AE62B}"/>
              </a:ext>
            </a:extLst>
          </p:cNvPr>
          <p:cNvSpPr/>
          <p:nvPr/>
        </p:nvSpPr>
        <p:spPr>
          <a:xfrm rot="18900000">
            <a:off x="603160" y="4653067"/>
            <a:ext cx="1392919" cy="231626"/>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39" name="Rectángulo redondeado 38">
            <a:extLst>
              <a:ext uri="{FF2B5EF4-FFF2-40B4-BE49-F238E27FC236}">
                <a16:creationId xmlns:a16="http://schemas.microsoft.com/office/drawing/2014/main" id="{036105D7-28E1-104C-2E5E-EE347F69F413}"/>
              </a:ext>
            </a:extLst>
          </p:cNvPr>
          <p:cNvSpPr/>
          <p:nvPr/>
        </p:nvSpPr>
        <p:spPr>
          <a:xfrm rot="18900000">
            <a:off x="-553587" y="5865140"/>
            <a:ext cx="3139517" cy="522064"/>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1" name="Rectángulo redondeado 40">
            <a:extLst>
              <a:ext uri="{FF2B5EF4-FFF2-40B4-BE49-F238E27FC236}">
                <a16:creationId xmlns:a16="http://schemas.microsoft.com/office/drawing/2014/main" id="{F8CB9684-540F-FED4-E52F-F16ACF2D7152}"/>
              </a:ext>
            </a:extLst>
          </p:cNvPr>
          <p:cNvSpPr/>
          <p:nvPr/>
        </p:nvSpPr>
        <p:spPr>
          <a:xfrm rot="18900000">
            <a:off x="10204017" y="6174626"/>
            <a:ext cx="2525453" cy="419953"/>
          </a:xfrm>
          <a:prstGeom prst="roundRect">
            <a:avLst>
              <a:gd name="adj" fmla="val 50000"/>
            </a:avLst>
          </a:prstGeom>
          <a:solidFill>
            <a:schemeClr val="bg1"/>
          </a:solidFill>
          <a:ln>
            <a:noFill/>
          </a:ln>
          <a:effectLst>
            <a:outerShdw blurRad="114300" dist="38100" dir="2700000" sx="101000" sy="101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2" name="Imagen 41">
            <a:extLst>
              <a:ext uri="{FF2B5EF4-FFF2-40B4-BE49-F238E27FC236}">
                <a16:creationId xmlns:a16="http://schemas.microsoft.com/office/drawing/2014/main" id="{56146A2C-953D-3FEC-8B7A-C244276A210A}"/>
              </a:ext>
            </a:extLst>
          </p:cNvPr>
          <p:cNvPicPr>
            <a:picLocks noChangeAspect="1"/>
          </p:cNvPicPr>
          <p:nvPr/>
        </p:nvPicPr>
        <p:blipFill>
          <a:blip r:embed="rId6"/>
          <a:stretch>
            <a:fillRect/>
          </a:stretch>
        </p:blipFill>
        <p:spPr>
          <a:xfrm>
            <a:off x="-221175" y="3716338"/>
            <a:ext cx="822431" cy="813492"/>
          </a:xfrm>
          <a:prstGeom prst="rect">
            <a:avLst/>
          </a:prstGeom>
        </p:spPr>
      </p:pic>
      <p:sp>
        <p:nvSpPr>
          <p:cNvPr id="43" name="Rectángulo redondeado 42">
            <a:extLst>
              <a:ext uri="{FF2B5EF4-FFF2-40B4-BE49-F238E27FC236}">
                <a16:creationId xmlns:a16="http://schemas.microsoft.com/office/drawing/2014/main" id="{7EB1D0C8-6427-9C68-9E17-E1EF2A7ACADD}"/>
              </a:ext>
            </a:extLst>
          </p:cNvPr>
          <p:cNvSpPr/>
          <p:nvPr/>
        </p:nvSpPr>
        <p:spPr>
          <a:xfrm>
            <a:off x="2219778" y="4362134"/>
            <a:ext cx="611615" cy="611616"/>
          </a:xfrm>
          <a:prstGeom prst="roundRect">
            <a:avLst>
              <a:gd name="adj" fmla="val 50000"/>
            </a:avLst>
          </a:prstGeom>
          <a:solidFill>
            <a:srgbClr val="E948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Century Gothic" panose="020B0502020202020204" pitchFamily="34" charset="0"/>
            </a:endParaRPr>
          </a:p>
        </p:txBody>
      </p:sp>
      <p:sp>
        <p:nvSpPr>
          <p:cNvPr id="2" name="TextBox 1">
            <a:extLst>
              <a:ext uri="{FF2B5EF4-FFF2-40B4-BE49-F238E27FC236}">
                <a16:creationId xmlns:a16="http://schemas.microsoft.com/office/drawing/2014/main" id="{BB452E63-46BF-160A-3CCA-96C6D9D28EF1}"/>
              </a:ext>
            </a:extLst>
          </p:cNvPr>
          <p:cNvSpPr txBox="1"/>
          <p:nvPr/>
        </p:nvSpPr>
        <p:spPr>
          <a:xfrm>
            <a:off x="422260" y="1799727"/>
            <a:ext cx="2924307" cy="1815882"/>
          </a:xfrm>
          <a:prstGeom prst="rect">
            <a:avLst/>
          </a:prstGeom>
          <a:noFill/>
        </p:spPr>
        <p:txBody>
          <a:bodyPr wrap="square">
            <a:spAutoFit/>
          </a:bodyPr>
          <a:lstStyle/>
          <a:p>
            <a:pPr marL="0" marR="0" lvl="0" indent="0" algn="just" defTabSz="913029" eaLnBrk="1" fontAlgn="auto" latinLnBrk="0" hangingPunct="1">
              <a:lnSpc>
                <a:spcPct val="100000"/>
              </a:lnSpc>
              <a:spcBef>
                <a:spcPts val="600"/>
              </a:spcBef>
              <a:spcAft>
                <a:spcPts val="0"/>
              </a:spcAft>
              <a:buClr>
                <a:srgbClr val="FFE600"/>
              </a:buClr>
              <a:buSzPct val="100000"/>
              <a:buFontTx/>
              <a:buNone/>
              <a:tabLst/>
              <a:defRPr/>
            </a:pPr>
            <a:r>
              <a:rPr kumimoji="0" lang="es-MX" sz="1400" b="0" i="1" u="none" strike="noStrike" kern="0" cap="none" spc="0" normalizeH="0" baseline="0" noProof="0" dirty="0">
                <a:ln>
                  <a:noFill/>
                </a:ln>
                <a:solidFill>
                  <a:schemeClr val="bg1"/>
                </a:solidFill>
                <a:effectLst/>
                <a:uLnTx/>
                <a:uFillTx/>
                <a:latin typeface="Century Gothic" panose="020B0502020202020204" pitchFamily="34" charset="0"/>
              </a:rPr>
              <a:t>La estructura de gobernanza requiere que los diferentes grupos, particularmente las tres líneas de defensa, operen de manera independiente y tengan la autoridad suficiente para ejercer un cuestionamiento eficaz</a:t>
            </a:r>
          </a:p>
        </p:txBody>
      </p:sp>
      <p:sp>
        <p:nvSpPr>
          <p:cNvPr id="7" name="Rectangle 6">
            <a:extLst>
              <a:ext uri="{FF2B5EF4-FFF2-40B4-BE49-F238E27FC236}">
                <a16:creationId xmlns:a16="http://schemas.microsoft.com/office/drawing/2014/main" id="{EC1CCF65-89FB-1B8C-2AB5-1484A1D24AD2}"/>
              </a:ext>
            </a:extLst>
          </p:cNvPr>
          <p:cNvSpPr/>
          <p:nvPr/>
        </p:nvSpPr>
        <p:spPr bwMode="auto">
          <a:xfrm>
            <a:off x="3579743" y="1738286"/>
            <a:ext cx="2364308" cy="3925914"/>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8" name="Rectangle 7">
            <a:extLst>
              <a:ext uri="{FF2B5EF4-FFF2-40B4-BE49-F238E27FC236}">
                <a16:creationId xmlns:a16="http://schemas.microsoft.com/office/drawing/2014/main" id="{0EAFD159-88EF-5928-B74D-EFFB06CA7502}"/>
              </a:ext>
            </a:extLst>
          </p:cNvPr>
          <p:cNvSpPr/>
          <p:nvPr>
            <p:custDataLst>
              <p:tags r:id="rId1"/>
            </p:custDataLst>
          </p:nvPr>
        </p:nvSpPr>
        <p:spPr bwMode="gray">
          <a:xfrm>
            <a:off x="3579743" y="1360334"/>
            <a:ext cx="2248954" cy="530352"/>
          </a:xfrm>
          <a:prstGeom prst="rect">
            <a:avLst/>
          </a:prstGeom>
          <a:noFill/>
          <a:ln w="9525" cap="flat" cmpd="sng" algn="ctr">
            <a:noFill/>
            <a:prstDash val="solid"/>
          </a:ln>
          <a:effectLst/>
        </p:spPr>
        <p:txBody>
          <a:bodyPr tIns="18288" bIns="18288" anchor="ctr"/>
          <a:lstStyle/>
          <a:p>
            <a:pPr algn="ctr">
              <a:defRPr/>
            </a:pPr>
            <a:r>
              <a:rPr lang="es-MX" sz="1200" b="1" kern="0" dirty="0">
                <a:latin typeface="Century Gothic" panose="020B0502020202020204" pitchFamily="34" charset="0"/>
                <a:cs typeface="Arial"/>
              </a:rPr>
              <a:t>1° Línea de Defensa</a:t>
            </a:r>
          </a:p>
          <a:p>
            <a:pPr algn="ctr">
              <a:defRPr/>
            </a:pPr>
            <a:r>
              <a:rPr lang="en-US" sz="1200" b="1" kern="0" dirty="0">
                <a:latin typeface="Century Gothic" panose="020B0502020202020204" pitchFamily="34" charset="0"/>
                <a:cs typeface="Arial"/>
              </a:rPr>
              <a:t>(</a:t>
            </a:r>
            <a:r>
              <a:rPr lang="es-MX" sz="1200" b="1" kern="0" dirty="0">
                <a:latin typeface="Century Gothic" panose="020B0502020202020204" pitchFamily="34" charset="0"/>
                <a:cs typeface="Arial"/>
              </a:rPr>
              <a:t>Ciclo de vida del Modelo)</a:t>
            </a:r>
          </a:p>
          <a:p>
            <a:pPr algn="ctr">
              <a:defRPr/>
            </a:pPr>
            <a:endParaRPr lang="en-US" sz="1200" b="1" kern="0" dirty="0">
              <a:latin typeface="Century Gothic" panose="020B0502020202020204" pitchFamily="34" charset="0"/>
              <a:cs typeface="Arial"/>
            </a:endParaRPr>
          </a:p>
        </p:txBody>
      </p:sp>
      <p:sp>
        <p:nvSpPr>
          <p:cNvPr id="9" name="Rectangle 8">
            <a:extLst>
              <a:ext uri="{FF2B5EF4-FFF2-40B4-BE49-F238E27FC236}">
                <a16:creationId xmlns:a16="http://schemas.microsoft.com/office/drawing/2014/main" id="{05B05E68-A3AF-8256-3B40-F27A4790472D}"/>
              </a:ext>
            </a:extLst>
          </p:cNvPr>
          <p:cNvSpPr/>
          <p:nvPr/>
        </p:nvSpPr>
        <p:spPr bwMode="auto">
          <a:xfrm>
            <a:off x="6523647" y="1738286"/>
            <a:ext cx="2364308" cy="3925914"/>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10" name="Rectangle 9">
            <a:extLst>
              <a:ext uri="{FF2B5EF4-FFF2-40B4-BE49-F238E27FC236}">
                <a16:creationId xmlns:a16="http://schemas.microsoft.com/office/drawing/2014/main" id="{F9D6E451-7258-884D-A515-146490ECBB83}"/>
              </a:ext>
            </a:extLst>
          </p:cNvPr>
          <p:cNvSpPr/>
          <p:nvPr>
            <p:custDataLst>
              <p:tags r:id="rId2"/>
            </p:custDataLst>
          </p:nvPr>
        </p:nvSpPr>
        <p:spPr bwMode="gray">
          <a:xfrm>
            <a:off x="6449556" y="1360334"/>
            <a:ext cx="2512491" cy="530352"/>
          </a:xfrm>
          <a:prstGeom prst="rect">
            <a:avLst/>
          </a:prstGeom>
          <a:noFill/>
          <a:ln w="9525" cap="flat" cmpd="sng" algn="ctr">
            <a:noFill/>
            <a:prstDash val="solid"/>
          </a:ln>
          <a:effectLst/>
        </p:spPr>
        <p:txBody>
          <a:bodyPr tIns="18288" bIns="18288" anchor="ctr"/>
          <a:lstStyle/>
          <a:p>
            <a:pPr algn="ctr">
              <a:defRPr/>
            </a:pPr>
            <a:r>
              <a:rPr lang="es-MX" sz="1200" b="1" kern="0" dirty="0">
                <a:latin typeface="Century Gothic" panose="020B0502020202020204" pitchFamily="34" charset="0"/>
                <a:cs typeface="Arial"/>
              </a:rPr>
              <a:t>2° Línea de Defensa</a:t>
            </a:r>
          </a:p>
          <a:p>
            <a:pPr algn="ctr">
              <a:defRPr/>
            </a:pPr>
            <a:r>
              <a:rPr lang="en-US" sz="1200" b="1" kern="0" dirty="0">
                <a:latin typeface="Century Gothic" panose="020B0502020202020204" pitchFamily="34" charset="0"/>
                <a:cs typeface="Arial"/>
              </a:rPr>
              <a:t>(</a:t>
            </a:r>
            <a:r>
              <a:rPr lang="es-MX" sz="1200" b="1" kern="0" dirty="0">
                <a:latin typeface="Century Gothic" panose="020B0502020202020204" pitchFamily="34" charset="0"/>
                <a:cs typeface="Arial"/>
              </a:rPr>
              <a:t>Validación del Modelo</a:t>
            </a:r>
            <a:r>
              <a:rPr lang="en-US" sz="1200" b="1" kern="0" dirty="0">
                <a:latin typeface="Century Gothic" panose="020B0502020202020204" pitchFamily="34" charset="0"/>
                <a:cs typeface="Arial"/>
              </a:rPr>
              <a:t>)</a:t>
            </a:r>
          </a:p>
          <a:p>
            <a:pPr algn="ctr">
              <a:defRPr/>
            </a:pPr>
            <a:endParaRPr lang="en-US" sz="1200" b="1" kern="0" dirty="0">
              <a:latin typeface="Century Gothic" panose="020B0502020202020204" pitchFamily="34" charset="0"/>
              <a:cs typeface="Arial"/>
            </a:endParaRPr>
          </a:p>
        </p:txBody>
      </p:sp>
      <p:sp>
        <p:nvSpPr>
          <p:cNvPr id="12" name="Rectangle 11">
            <a:extLst>
              <a:ext uri="{FF2B5EF4-FFF2-40B4-BE49-F238E27FC236}">
                <a16:creationId xmlns:a16="http://schemas.microsoft.com/office/drawing/2014/main" id="{C68FFDD5-F210-C0D1-0E6C-14BC3AF750EB}"/>
              </a:ext>
            </a:extLst>
          </p:cNvPr>
          <p:cNvSpPr/>
          <p:nvPr/>
        </p:nvSpPr>
        <p:spPr bwMode="auto">
          <a:xfrm>
            <a:off x="9441875" y="1738286"/>
            <a:ext cx="2364308" cy="3925914"/>
          </a:xfrm>
          <a:prstGeom prst="rect">
            <a:avLst/>
          </a:prstGeom>
          <a:noFill/>
          <a:ln w="19050" cap="flat" cmpd="sng" algn="ctr">
            <a:solidFill>
              <a:srgbClr val="E9488B"/>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effectLst/>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36D13FB0-E11D-A8C0-1729-63343E556EB8}"/>
              </a:ext>
            </a:extLst>
          </p:cNvPr>
          <p:cNvSpPr/>
          <p:nvPr>
            <p:custDataLst>
              <p:tags r:id="rId3"/>
            </p:custDataLst>
          </p:nvPr>
        </p:nvSpPr>
        <p:spPr bwMode="gray">
          <a:xfrm>
            <a:off x="9403763" y="1275926"/>
            <a:ext cx="2440509" cy="530352"/>
          </a:xfrm>
          <a:prstGeom prst="rect">
            <a:avLst/>
          </a:prstGeom>
          <a:noFill/>
          <a:ln w="9525" cap="flat" cmpd="sng" algn="ctr">
            <a:noFill/>
            <a:prstDash val="solid"/>
          </a:ln>
          <a:effectLst/>
        </p:spPr>
        <p:txBody>
          <a:bodyPr tIns="18288" bIns="18288" anchor="ctr"/>
          <a:lstStyle/>
          <a:p>
            <a:pPr algn="ctr">
              <a:defRPr/>
            </a:pPr>
            <a:r>
              <a:rPr lang="es-MX" sz="1200" b="1" kern="0" dirty="0">
                <a:latin typeface="Century Gothic" panose="020B0502020202020204" pitchFamily="34" charset="0"/>
                <a:cs typeface="Arial"/>
              </a:rPr>
              <a:t>3° Línea de Defensa</a:t>
            </a:r>
          </a:p>
          <a:p>
            <a:pPr algn="ctr">
              <a:defRPr/>
            </a:pPr>
            <a:r>
              <a:rPr lang="en-US" sz="1200" b="1" kern="0" dirty="0">
                <a:latin typeface="Century Gothic" panose="020B0502020202020204" pitchFamily="34" charset="0"/>
                <a:cs typeface="Arial"/>
              </a:rPr>
              <a:t>(Oversight del </a:t>
            </a:r>
            <a:r>
              <a:rPr lang="es-MX" sz="1200" b="1" kern="0" dirty="0">
                <a:latin typeface="Century Gothic" panose="020B0502020202020204" pitchFamily="34" charset="0"/>
                <a:cs typeface="Arial"/>
              </a:rPr>
              <a:t>Modelo</a:t>
            </a:r>
            <a:r>
              <a:rPr lang="en-US" sz="1200" b="1" kern="0" dirty="0">
                <a:latin typeface="Century Gothic" panose="020B0502020202020204" pitchFamily="34" charset="0"/>
                <a:cs typeface="Arial"/>
              </a:rPr>
              <a:t>)</a:t>
            </a:r>
          </a:p>
        </p:txBody>
      </p:sp>
      <p:sp>
        <p:nvSpPr>
          <p:cNvPr id="14" name="Rounded Rectangle 10">
            <a:extLst>
              <a:ext uri="{FF2B5EF4-FFF2-40B4-BE49-F238E27FC236}">
                <a16:creationId xmlns:a16="http://schemas.microsoft.com/office/drawing/2014/main" id="{59AAC007-3DA3-B3DA-FAC9-C035ED0FC390}"/>
              </a:ext>
            </a:extLst>
          </p:cNvPr>
          <p:cNvSpPr/>
          <p:nvPr/>
        </p:nvSpPr>
        <p:spPr bwMode="auto">
          <a:xfrm>
            <a:off x="3732280" y="1848482"/>
            <a:ext cx="2059235" cy="838200"/>
          </a:xfrm>
          <a:prstGeom prst="roundRect">
            <a:avLst/>
          </a:prstGeom>
          <a:solidFill>
            <a:srgbClr val="6E4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s-MX" sz="1200" b="1" kern="0" dirty="0">
                <a:solidFill>
                  <a:schemeClr val="bg1"/>
                </a:solidFill>
                <a:latin typeface="Century Gothic" panose="020B0502020202020204" pitchFamily="34" charset="0"/>
              </a:rPr>
              <a:t>Dueños, Desarrolladores y Usuarios del Modelo</a:t>
            </a:r>
            <a:endParaRPr lang="en-US" sz="1200" b="1" kern="0" dirty="0">
              <a:solidFill>
                <a:schemeClr val="bg1"/>
              </a:solidFill>
              <a:latin typeface="Century Gothic" panose="020B0502020202020204" pitchFamily="34" charset="0"/>
            </a:endParaRPr>
          </a:p>
        </p:txBody>
      </p:sp>
      <p:sp>
        <p:nvSpPr>
          <p:cNvPr id="15" name="Rounded Rectangle 11">
            <a:extLst>
              <a:ext uri="{FF2B5EF4-FFF2-40B4-BE49-F238E27FC236}">
                <a16:creationId xmlns:a16="http://schemas.microsoft.com/office/drawing/2014/main" id="{3B543B56-AC8D-C83F-E4F4-7D0863E70B6B}"/>
              </a:ext>
            </a:extLst>
          </p:cNvPr>
          <p:cNvSpPr/>
          <p:nvPr/>
        </p:nvSpPr>
        <p:spPr bwMode="auto">
          <a:xfrm>
            <a:off x="6676184" y="1848482"/>
            <a:ext cx="2059235" cy="838200"/>
          </a:xfrm>
          <a:prstGeom prst="roundRect">
            <a:avLst/>
          </a:prstGeom>
          <a:solidFill>
            <a:srgbClr val="6E4494"/>
          </a:solidFill>
          <a:ln w="9525" cap="flat" cmpd="sng" algn="ctr">
            <a:solidFill>
              <a:srgbClr val="E9488B"/>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s-MX" sz="1200" b="1" kern="0" dirty="0">
                <a:solidFill>
                  <a:schemeClr val="bg1"/>
                </a:solidFill>
                <a:latin typeface="Century Gothic" panose="020B0502020202020204" pitchFamily="34" charset="0"/>
              </a:rPr>
              <a:t>Gestión del Riesgo de Modelos (MRM)</a:t>
            </a:r>
            <a:endParaRPr lang="en-US" sz="1200" b="1" kern="0" dirty="0">
              <a:solidFill>
                <a:schemeClr val="bg1"/>
              </a:solidFill>
              <a:latin typeface="Century Gothic" panose="020B0502020202020204" pitchFamily="34" charset="0"/>
            </a:endParaRPr>
          </a:p>
        </p:txBody>
      </p:sp>
      <p:sp>
        <p:nvSpPr>
          <p:cNvPr id="16" name="Rounded Rectangle 12">
            <a:extLst>
              <a:ext uri="{FF2B5EF4-FFF2-40B4-BE49-F238E27FC236}">
                <a16:creationId xmlns:a16="http://schemas.microsoft.com/office/drawing/2014/main" id="{D7ED5C26-D42A-09BB-BA8A-E8D1935CA60F}"/>
              </a:ext>
            </a:extLst>
          </p:cNvPr>
          <p:cNvSpPr/>
          <p:nvPr/>
        </p:nvSpPr>
        <p:spPr bwMode="auto">
          <a:xfrm>
            <a:off x="9594412" y="1848482"/>
            <a:ext cx="2059235" cy="838200"/>
          </a:xfrm>
          <a:prstGeom prst="roundRect">
            <a:avLst/>
          </a:prstGeom>
          <a:solidFill>
            <a:srgbClr val="6E4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b="1" kern="0" dirty="0">
                <a:solidFill>
                  <a:schemeClr val="bg1"/>
                </a:solidFill>
                <a:latin typeface="Century Gothic" panose="020B0502020202020204" pitchFamily="34" charset="0"/>
              </a:rPr>
              <a:t>Auditoria Interna</a:t>
            </a:r>
          </a:p>
        </p:txBody>
      </p:sp>
      <p:sp>
        <p:nvSpPr>
          <p:cNvPr id="17" name="Rectangle 16">
            <a:extLst>
              <a:ext uri="{FF2B5EF4-FFF2-40B4-BE49-F238E27FC236}">
                <a16:creationId xmlns:a16="http://schemas.microsoft.com/office/drawing/2014/main" id="{8499EEF9-1668-02BC-07AD-868C65F11120}"/>
              </a:ext>
            </a:extLst>
          </p:cNvPr>
          <p:cNvSpPr>
            <a:spLocks noChangeArrowheads="1"/>
          </p:cNvSpPr>
          <p:nvPr/>
        </p:nvSpPr>
        <p:spPr bwMode="auto">
          <a:xfrm>
            <a:off x="3656997" y="2728886"/>
            <a:ext cx="2209800" cy="823516"/>
          </a:xfrm>
          <a:prstGeom prst="rect">
            <a:avLst/>
          </a:prstGeom>
          <a:noFill/>
          <a:ln w="6350">
            <a:noFill/>
            <a:miter lim="800000"/>
            <a:headEnd/>
            <a:tailEnd/>
          </a:ln>
        </p:spPr>
        <p:txBody>
          <a:bodyPr wrap="square" lIns="45720" rIns="45720"/>
          <a:lstStyle/>
          <a:p>
            <a:pPr marL="171450" indent="-171450" algn="just" eaLnBrk="0" hangingPunct="0">
              <a:spcBef>
                <a:spcPct val="30000"/>
              </a:spcBef>
              <a:buClr>
                <a:srgbClr val="646464"/>
              </a:buClr>
              <a:buSzPct val="80000"/>
              <a:buFont typeface="Arial" panose="020B0604020202020204" pitchFamily="34" charset="0"/>
              <a:buChar char="►"/>
              <a:defRPr/>
            </a:pPr>
            <a:r>
              <a:rPr lang="es-MX" sz="1000" kern="0" dirty="0">
                <a:latin typeface="Century Gothic" panose="020B0502020202020204" pitchFamily="34" charset="0"/>
              </a:rPr>
              <a:t>G</a:t>
            </a:r>
            <a:r>
              <a:rPr lang="es-MX" sz="1000" kern="0" dirty="0" err="1">
                <a:latin typeface="Century Gothic" panose="020B0502020202020204" pitchFamily="34" charset="0"/>
              </a:rPr>
              <a:t>estión</a:t>
            </a:r>
            <a:r>
              <a:rPr lang="es-MX" sz="1000" kern="0" dirty="0">
                <a:latin typeface="Century Gothic" panose="020B0502020202020204" pitchFamily="34" charset="0"/>
              </a:rPr>
              <a:t> continua de los modelos a lo largo de su ciclo de vida. </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Propósito de negocio</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Desarrollo del modelo </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Implementación del modelo</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Operación del Modelo </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Monitoreo del desempeño del modelo </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950" kern="0" dirty="0">
                <a:latin typeface="Century Gothic" panose="020B0502020202020204" pitchFamily="34" charset="0"/>
              </a:rPr>
              <a:t>Gestión de cambios del Modelo </a:t>
            </a:r>
          </a:p>
          <a:p>
            <a:pPr marL="171450" indent="-171450" algn="just" eaLnBrk="0" hangingPunct="0">
              <a:spcBef>
                <a:spcPct val="30000"/>
              </a:spcBef>
              <a:buClr>
                <a:srgbClr val="646464"/>
              </a:buClr>
              <a:buSzPct val="80000"/>
              <a:buFont typeface="Arial" panose="020B0604020202020204" pitchFamily="34" charset="0"/>
              <a:buChar char="►"/>
              <a:defRPr/>
            </a:pPr>
            <a:r>
              <a:rPr lang="es-MX" sz="1000" kern="0" dirty="0">
                <a:latin typeface="Century Gothic" panose="020B0502020202020204" pitchFamily="34" charset="0"/>
              </a:rPr>
              <a:t>Responder a los cuestionamientos planteados por  los grupos de validación, foros de gobierno y otras áreas/entidades de validación. </a:t>
            </a: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p:txBody>
      </p:sp>
      <p:sp>
        <p:nvSpPr>
          <p:cNvPr id="18" name="Rectangle 17">
            <a:extLst>
              <a:ext uri="{FF2B5EF4-FFF2-40B4-BE49-F238E27FC236}">
                <a16:creationId xmlns:a16="http://schemas.microsoft.com/office/drawing/2014/main" id="{661456FF-FE2F-AB38-1294-2546FD8053EB}"/>
              </a:ext>
            </a:extLst>
          </p:cNvPr>
          <p:cNvSpPr>
            <a:spLocks noChangeArrowheads="1"/>
          </p:cNvSpPr>
          <p:nvPr/>
        </p:nvSpPr>
        <p:spPr bwMode="auto">
          <a:xfrm>
            <a:off x="6523647" y="2793422"/>
            <a:ext cx="2286000" cy="2595970"/>
          </a:xfrm>
          <a:prstGeom prst="rect">
            <a:avLst/>
          </a:prstGeom>
          <a:noFill/>
          <a:ln w="6350">
            <a:noFill/>
            <a:miter lim="800000"/>
            <a:headEnd/>
            <a:tailEnd/>
          </a:ln>
        </p:spPr>
        <p:txBody>
          <a:bodyPr wrap="square" lIns="45720" rIns="45720"/>
          <a:lstStyle/>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Asegurar la existencia de un marco de gobierno adecuado para los controles y estándares del  modelo.</a:t>
            </a:r>
          </a:p>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Evaluar y retar la solidez conceptual de los modelos.</a:t>
            </a:r>
          </a:p>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Realizar validaciones independientes a los modelos.</a:t>
            </a:r>
          </a:p>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Identificar y dar seguimiento a </a:t>
            </a:r>
            <a:r>
              <a:rPr lang="es-MX" sz="1000" i="1" kern="0" dirty="0" err="1">
                <a:latin typeface="Century Gothic" panose="020B0502020202020204" pitchFamily="34" charset="0"/>
              </a:rPr>
              <a:t>issues</a:t>
            </a:r>
            <a:r>
              <a:rPr lang="es-MX" sz="1000" i="1" kern="0" dirty="0">
                <a:latin typeface="Century Gothic" panose="020B0502020202020204" pitchFamily="34" charset="0"/>
              </a:rPr>
              <a:t> </a:t>
            </a:r>
            <a:r>
              <a:rPr lang="es-MX" sz="1000" kern="0" dirty="0">
                <a:latin typeface="Century Gothic" panose="020B0502020202020204" pitchFamily="34" charset="0"/>
              </a:rPr>
              <a:t>en los  modelos.</a:t>
            </a:r>
          </a:p>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Aprobar los modelos y validar periódicamente las restricciones de uso.</a:t>
            </a:r>
          </a:p>
          <a:p>
            <a:pPr marL="171450" indent="-171450" algn="just" eaLnBrk="0" hangingPunct="0">
              <a:spcBef>
                <a:spcPct val="30000"/>
              </a:spcBef>
              <a:buClr>
                <a:srgbClr val="808080"/>
              </a:buClr>
              <a:buSzPct val="80000"/>
              <a:buFont typeface="Arial" panose="020B0604020202020204" pitchFamily="34" charset="0"/>
              <a:buChar char="►"/>
              <a:defRPr/>
            </a:pPr>
            <a:r>
              <a:rPr lang="es-MX" sz="1000" kern="0" dirty="0">
                <a:latin typeface="Century Gothic" panose="020B0502020202020204" pitchFamily="34" charset="0"/>
              </a:rPr>
              <a:t>Gestionar el inventario de modelos.</a:t>
            </a: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p:txBody>
      </p:sp>
      <p:sp>
        <p:nvSpPr>
          <p:cNvPr id="19" name="Rectangle 18">
            <a:extLst>
              <a:ext uri="{FF2B5EF4-FFF2-40B4-BE49-F238E27FC236}">
                <a16:creationId xmlns:a16="http://schemas.microsoft.com/office/drawing/2014/main" id="{F1A74409-157B-89C4-7779-4B15001C0D52}"/>
              </a:ext>
            </a:extLst>
          </p:cNvPr>
          <p:cNvSpPr>
            <a:spLocks noChangeArrowheads="1"/>
          </p:cNvSpPr>
          <p:nvPr/>
        </p:nvSpPr>
        <p:spPr bwMode="auto">
          <a:xfrm>
            <a:off x="9467551" y="2793422"/>
            <a:ext cx="2243950" cy="823516"/>
          </a:xfrm>
          <a:prstGeom prst="rect">
            <a:avLst/>
          </a:prstGeom>
          <a:noFill/>
          <a:ln w="6350">
            <a:noFill/>
            <a:miter lim="800000"/>
            <a:headEnd/>
            <a:tailEnd/>
          </a:ln>
        </p:spPr>
        <p:txBody>
          <a:bodyPr wrap="square" lIns="45720" rIns="45720"/>
          <a:lstStyle/>
          <a:p>
            <a:pPr marL="171450" indent="-171450" algn="just" eaLnBrk="0" hangingPunct="0">
              <a:spcBef>
                <a:spcPct val="30000"/>
              </a:spcBef>
              <a:buClr>
                <a:srgbClr val="646464"/>
              </a:buClr>
              <a:buSzPct val="80000"/>
              <a:buFont typeface="Arial" panose="020B0604020202020204" pitchFamily="34" charset="0"/>
              <a:buChar char="►"/>
              <a:defRPr/>
            </a:pPr>
            <a:r>
              <a:rPr lang="es-MX" sz="1000" kern="0" dirty="0">
                <a:latin typeface="Century Gothic" panose="020B0502020202020204" pitchFamily="34" charset="0"/>
              </a:rPr>
              <a:t>Evaluar independientemente los procedimientos y prácticas de la 1° línea para mitigar el riesgo de modelos.</a:t>
            </a:r>
          </a:p>
          <a:p>
            <a:pPr marL="171450" indent="-171450" algn="just" eaLnBrk="0" hangingPunct="0">
              <a:spcBef>
                <a:spcPct val="30000"/>
              </a:spcBef>
              <a:buClr>
                <a:srgbClr val="646464"/>
              </a:buClr>
              <a:buSzPct val="80000"/>
              <a:buFont typeface="Arial" panose="020B0604020202020204" pitchFamily="34" charset="0"/>
              <a:buChar char="►"/>
              <a:defRPr/>
            </a:pPr>
            <a:r>
              <a:rPr lang="es-MX" sz="1000" kern="0" dirty="0">
                <a:latin typeface="Century Gothic" panose="020B0502020202020204" pitchFamily="34" charset="0"/>
              </a:rPr>
              <a:t>Proporcionar transparencia a la segunda línea.</a:t>
            </a:r>
          </a:p>
          <a:p>
            <a:pPr marL="171450" indent="-171450" algn="just" eaLnBrk="0" hangingPunct="0">
              <a:spcBef>
                <a:spcPct val="30000"/>
              </a:spcBef>
              <a:buClr>
                <a:srgbClr val="646464"/>
              </a:buClr>
              <a:buSzPct val="80000"/>
              <a:buFont typeface="Arial" panose="020B0604020202020204" pitchFamily="34" charset="0"/>
              <a:buChar char="►"/>
              <a:defRPr/>
            </a:pPr>
            <a:r>
              <a:rPr lang="es-MX" sz="1000" kern="0" dirty="0">
                <a:latin typeface="Century Gothic" panose="020B0502020202020204" pitchFamily="34" charset="0"/>
              </a:rPr>
              <a:t>Evaluar la integridad, rigor  eficacia de la gestión del riesgo de modelo.</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1000" kern="0" dirty="0">
                <a:latin typeface="Century Gothic" panose="020B0502020202020204" pitchFamily="34" charset="0"/>
              </a:rPr>
              <a:t>Asegurar la eficacia de la revisión independiente de 2° línea. </a:t>
            </a:r>
          </a:p>
          <a:p>
            <a:pPr marL="396875" lvl="1" indent="-171450" algn="just" eaLnBrk="0" hangingPunct="0">
              <a:spcBef>
                <a:spcPct val="30000"/>
              </a:spcBef>
              <a:buClr>
                <a:srgbClr val="646464"/>
              </a:buClr>
              <a:buSzPct val="80000"/>
              <a:buFont typeface="Wingdings" panose="05000000000000000000" pitchFamily="2" charset="2"/>
              <a:buChar char="§"/>
              <a:defRPr/>
            </a:pPr>
            <a:r>
              <a:rPr lang="es-MX" sz="1000" kern="0" dirty="0">
                <a:latin typeface="Century Gothic" panose="020B0502020202020204" pitchFamily="34" charset="0"/>
              </a:rPr>
              <a:t>Asegurar que se realicen los cuestionamientos requeridos a los modelos a lo largo de su ciclo de vida.</a:t>
            </a: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a:p>
            <a:pPr marL="114300" indent="-114300" eaLnBrk="0" hangingPunct="0">
              <a:spcBef>
                <a:spcPct val="30000"/>
              </a:spcBef>
              <a:buClr>
                <a:srgbClr val="646464"/>
              </a:buClr>
              <a:buFontTx/>
              <a:buChar char="•"/>
              <a:defRPr/>
            </a:pPr>
            <a:endParaRPr lang="en-GB" sz="1000" kern="0" dirty="0">
              <a:latin typeface="Century Gothic" panose="020B0502020202020204" pitchFamily="34" charset="0"/>
            </a:endParaRPr>
          </a:p>
        </p:txBody>
      </p:sp>
      <p:sp>
        <p:nvSpPr>
          <p:cNvPr id="20" name="Isosceles Triangle 19">
            <a:extLst>
              <a:ext uri="{FF2B5EF4-FFF2-40B4-BE49-F238E27FC236}">
                <a16:creationId xmlns:a16="http://schemas.microsoft.com/office/drawing/2014/main" id="{1BC67462-813B-3BF3-FDD2-8FEBB3A35FAB}"/>
              </a:ext>
            </a:extLst>
          </p:cNvPr>
          <p:cNvSpPr/>
          <p:nvPr/>
        </p:nvSpPr>
        <p:spPr bwMode="auto">
          <a:xfrm rot="5400000">
            <a:off x="4381500" y="3492054"/>
            <a:ext cx="3657600" cy="228600"/>
          </a:xfrm>
          <a:prstGeom prst="triangle">
            <a:avLst/>
          </a:prstGeom>
          <a:solidFill>
            <a:srgbClr val="DCC5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b="1" kern="0" dirty="0">
              <a:latin typeface="Century Gothic" panose="020B0502020202020204" pitchFamily="34" charset="0"/>
            </a:endParaRPr>
          </a:p>
        </p:txBody>
      </p:sp>
      <p:sp>
        <p:nvSpPr>
          <p:cNvPr id="21" name="Isosceles Triangle 20">
            <a:extLst>
              <a:ext uri="{FF2B5EF4-FFF2-40B4-BE49-F238E27FC236}">
                <a16:creationId xmlns:a16="http://schemas.microsoft.com/office/drawing/2014/main" id="{039A7192-2181-C775-22BB-ECB534A78281}"/>
              </a:ext>
            </a:extLst>
          </p:cNvPr>
          <p:cNvSpPr/>
          <p:nvPr/>
        </p:nvSpPr>
        <p:spPr bwMode="auto">
          <a:xfrm rot="5400000">
            <a:off x="7321638" y="3492054"/>
            <a:ext cx="3657600" cy="228600"/>
          </a:xfrm>
          <a:prstGeom prst="triangle">
            <a:avLst/>
          </a:prstGeom>
          <a:solidFill>
            <a:srgbClr val="DCC5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b="1" kern="0" dirty="0">
              <a:latin typeface="Century Gothic" panose="020B0502020202020204" pitchFamily="34" charset="0"/>
            </a:endParaRPr>
          </a:p>
        </p:txBody>
      </p:sp>
    </p:spTree>
    <p:extLst>
      <p:ext uri="{BB962C8B-B14F-4D97-AF65-F5344CB8AC3E}">
        <p14:creationId xmlns:p14="http://schemas.microsoft.com/office/powerpoint/2010/main" val="1239110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uJZaaR3QUyEVfNCZjZz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uJZaaR3QUyEVfNCZjZz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uJZaaR3QUyEVfNCZjZzs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024</TotalTime>
  <Words>2821</Words>
  <Application>Microsoft Office PowerPoint</Application>
  <PresentationFormat>Panorámica</PresentationFormat>
  <Paragraphs>290</Paragraphs>
  <Slides>20</Slides>
  <Notes>20</Notes>
  <HiddenSlides>0</HiddenSlides>
  <MMClips>0</MMClips>
  <ScaleCrop>false</ScaleCrop>
  <HeadingPairs>
    <vt:vector size="6" baseType="variant">
      <vt:variant>
        <vt:lpstr>Fuentes usadas</vt:lpstr>
      </vt:variant>
      <vt:variant>
        <vt:i4>10</vt:i4>
      </vt:variant>
      <vt:variant>
        <vt:lpstr>Tema</vt:lpstr>
      </vt:variant>
      <vt:variant>
        <vt:i4>1</vt:i4>
      </vt:variant>
      <vt:variant>
        <vt:lpstr>Títulos de diapositiva</vt:lpstr>
      </vt:variant>
      <vt:variant>
        <vt:i4>20</vt:i4>
      </vt:variant>
    </vt:vector>
  </HeadingPairs>
  <TitlesOfParts>
    <vt:vector size="31" baseType="lpstr">
      <vt:lpstr>Aptos</vt:lpstr>
      <vt:lpstr>Aptos Display</vt:lpstr>
      <vt:lpstr>Arial</vt:lpstr>
      <vt:lpstr>Calibri</vt:lpstr>
      <vt:lpstr>Century Gothic</vt:lpstr>
      <vt:lpstr>Courier New</vt:lpstr>
      <vt:lpstr>EY interstate light</vt:lpstr>
      <vt:lpstr>EYInterstate</vt:lpstr>
      <vt:lpstr>EYInterstate Light</vt:lpstr>
      <vt:lpstr>Wingdings</vt: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milo Muñoz Gomez</dc:creator>
  <cp:lastModifiedBy>AteneA Centro de Pensamiento</cp:lastModifiedBy>
  <cp:revision>23</cp:revision>
  <dcterms:created xsi:type="dcterms:W3CDTF">2024-09-02T19:03:52Z</dcterms:created>
  <dcterms:modified xsi:type="dcterms:W3CDTF">2025-11-24T17:14:43Z</dcterms:modified>
</cp:coreProperties>
</file>